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5188" r:id="rId4"/>
    <p:sldMasterId id="2147485117" r:id="rId5"/>
  </p:sldMasterIdLst>
  <p:notesMasterIdLst>
    <p:notesMasterId r:id="rId13"/>
  </p:notesMasterIdLst>
  <p:sldIdLst>
    <p:sldId id="2141411663" r:id="rId6"/>
    <p:sldId id="2146847680" r:id="rId7"/>
    <p:sldId id="2146847685" r:id="rId8"/>
    <p:sldId id="2146847684" r:id="rId9"/>
    <p:sldId id="2146847689" r:id="rId10"/>
    <p:sldId id="2146847686" r:id="rId11"/>
    <p:sldId id="2146847687" r:id="rId12"/>
  </p:sldIdLst>
  <p:sldSz cx="12188825" cy="6858000"/>
  <p:notesSz cx="7102475" cy="9388475"/>
  <p:defaultTextStyle>
    <a:defPPr>
      <a:defRPr lang="en-US"/>
    </a:defPPr>
    <a:lvl1pPr marL="0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493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8987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480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7973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467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6960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6453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5947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696" userDrawn="1">
          <p15:clr>
            <a:srgbClr val="A4A3A4"/>
          </p15:clr>
        </p15:guide>
        <p15:guide id="2" pos="3839" userDrawn="1">
          <p15:clr>
            <a:srgbClr val="A4A3A4"/>
          </p15:clr>
        </p15:guide>
        <p15:guide id="3" orient="horz" pos="1152" userDrawn="1">
          <p15:clr>
            <a:srgbClr val="A4A3A4"/>
          </p15:clr>
        </p15:guide>
        <p15:guide id="4" orient="horz" pos="1392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A56E02E-F532-81F7-FD94-3FCE4104A923}" name="Anthony,Krysta" initials="A" userId="S::Krysta.Anthony@gartner.com::9244f7b8-c8dd-42c9-82f4-0cc36500d639" providerId="AD"/>
  <p188:author id="{B6D91A7E-042C-A350-BE01-0704C396F672}" name="Cohen,Maydad" initials="C" userId="S::Maydad.Cohen@gartner.com::f9bb5adc-be12-4e3b-a5bd-c202053f4165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Goodwin, Brendan (OCD)" initials="G(" lastIdx="8" clrIdx="0">
    <p:extLst>
      <p:ext uri="{19B8F6BF-5375-455C-9EA6-DF929625EA0E}">
        <p15:presenceInfo xmlns:p15="http://schemas.microsoft.com/office/powerpoint/2012/main" userId="S::brendan.goodwin@mass.gov::8dfe72e5-c104-4215-bbf7-9e61923454d3" providerId="AD"/>
      </p:ext>
    </p:extLst>
  </p:cmAuthor>
  <p:cmAuthor id="2" name="ONeill-Rosales, Tara (OCD)" initials="O(" lastIdx="6" clrIdx="1">
    <p:extLst>
      <p:ext uri="{19B8F6BF-5375-455C-9EA6-DF929625EA0E}">
        <p15:presenceInfo xmlns:p15="http://schemas.microsoft.com/office/powerpoint/2012/main" userId="S::tara.oneill-rosales@mass.gov::4066a1b4-8f91-423b-8c21-9cee0a8e1c3f" providerId="AD"/>
      </p:ext>
    </p:extLst>
  </p:cmAuthor>
  <p:cmAuthor id="3" name="Rubin, Roberta (OCD)" initials="R(" lastIdx="97" clrIdx="2">
    <p:extLst>
      <p:ext uri="{19B8F6BF-5375-455C-9EA6-DF929625EA0E}">
        <p15:presenceInfo xmlns:p15="http://schemas.microsoft.com/office/powerpoint/2012/main" userId="S::roberta.rubin@mass.gov::2cbd6095-3de4-4e08-a541-e182ee3ba991" providerId="AD"/>
      </p:ext>
    </p:extLst>
  </p:cmAuthor>
  <p:cmAuthor id="4" name="Stitely, Amy (OCD)" initials="SA(" lastIdx="28" clrIdx="3">
    <p:extLst>
      <p:ext uri="{19B8F6BF-5375-455C-9EA6-DF929625EA0E}">
        <p15:presenceInfo xmlns:p15="http://schemas.microsoft.com/office/powerpoint/2012/main" userId="Stitely, Amy (OCD)" providerId="None"/>
      </p:ext>
    </p:extLst>
  </p:cmAuthor>
  <p:cmAuthor id="5" name="Cohen, Jesse (GOV)" initials="C(" lastIdx="13" clrIdx="4">
    <p:extLst>
      <p:ext uri="{19B8F6BF-5375-455C-9EA6-DF929625EA0E}">
        <p15:presenceInfo xmlns:p15="http://schemas.microsoft.com/office/powerpoint/2012/main" userId="S::jesse.cohen@mass.gov::58b4b4f6-c4dc-489e-8a31-af510377fc9e" providerId="AD"/>
      </p:ext>
    </p:extLst>
  </p:cmAuthor>
  <p:cmAuthor id="6" name="Stitely, Amy (OCD)" initials="S(" lastIdx="74" clrIdx="5">
    <p:extLst>
      <p:ext uri="{19B8F6BF-5375-455C-9EA6-DF929625EA0E}">
        <p15:presenceInfo xmlns:p15="http://schemas.microsoft.com/office/powerpoint/2012/main" userId="S::amy.stitely@mass.gov::8760cb38-3584-482c-9a32-a9a96f11ca98" providerId="AD"/>
      </p:ext>
    </p:extLst>
  </p:cmAuthor>
  <p:cmAuthor id="7" name="Rothman-Shore, Aviva (OCD)" initials="R(" lastIdx="6" clrIdx="6">
    <p:extLst>
      <p:ext uri="{19B8F6BF-5375-455C-9EA6-DF929625EA0E}">
        <p15:presenceInfo xmlns:p15="http://schemas.microsoft.com/office/powerpoint/2012/main" userId="S::aviva.rothman-shore@mass.gov::1423b96d-bcbc-4ed3-97dc-23b737719a51" providerId="AD"/>
      </p:ext>
    </p:extLst>
  </p:cmAuthor>
  <p:cmAuthor id="8" name="Schaffer, Adam (OCD)" initials="SA(" lastIdx="17" clrIdx="7">
    <p:extLst>
      <p:ext uri="{19B8F6BF-5375-455C-9EA6-DF929625EA0E}">
        <p15:presenceInfo xmlns:p15="http://schemas.microsoft.com/office/powerpoint/2012/main" userId="S::adam.schaffer2@mass.gov::765b3ac6-a7b7-4689-a5ea-7ac8268785cc" providerId="AD"/>
      </p:ext>
    </p:extLst>
  </p:cmAuthor>
  <p:cmAuthor id="9" name="Muollo, Robert (OCD)" initials="M(" lastIdx="11" clrIdx="8">
    <p:extLst>
      <p:ext uri="{19B8F6BF-5375-455C-9EA6-DF929625EA0E}">
        <p15:presenceInfo xmlns:p15="http://schemas.microsoft.com/office/powerpoint/2012/main" userId="S::robert.muollo@mass.gov::d6a5c99b-8656-48a3-9921-9cde94974709" providerId="AD"/>
      </p:ext>
    </p:extLst>
  </p:cmAuthor>
  <p:cmAuthor id="10" name="Bresnahan, Karen (OCD)" initials="B(" lastIdx="11" clrIdx="9">
    <p:extLst>
      <p:ext uri="{19B8F6BF-5375-455C-9EA6-DF929625EA0E}">
        <p15:presenceInfo xmlns:p15="http://schemas.microsoft.com/office/powerpoint/2012/main" userId="S::karen.bresnahan@mass.gov::31e138f5-f147-48e8-840d-aa3f7a4c3675" providerId="AD"/>
      </p:ext>
    </p:extLst>
  </p:cmAuthor>
  <p:cmAuthor id="11" name="Attia, Mark (A&amp;F)" initials="A(" lastIdx="19" clrIdx="10">
    <p:extLst>
      <p:ext uri="{19B8F6BF-5375-455C-9EA6-DF929625EA0E}">
        <p15:presenceInfo xmlns:p15="http://schemas.microsoft.com/office/powerpoint/2012/main" userId="S::mark.attia@mass.gov::4aeb8811-86d4-4fe3-aa7a-edc5a4bee0c3" providerId="AD"/>
      </p:ext>
    </p:extLst>
  </p:cmAuthor>
  <p:cmAuthor id="12" name="Bourque, Molly (EOHED)" initials="B(" lastIdx="2" clrIdx="11">
    <p:extLst>
      <p:ext uri="{19B8F6BF-5375-455C-9EA6-DF929625EA0E}">
        <p15:presenceInfo xmlns:p15="http://schemas.microsoft.com/office/powerpoint/2012/main" userId="S::molly.p.bourque@mass.gov::69a871c7-db1b-476b-88f2-143d86100df0" providerId="AD"/>
      </p:ext>
    </p:extLst>
  </p:cmAuthor>
  <p:cmAuthor id="13" name="David Eng" initials="DE" lastIdx="5" clrIdx="12">
    <p:extLst>
      <p:ext uri="{19B8F6BF-5375-455C-9EA6-DF929625EA0E}">
        <p15:presenceInfo xmlns:p15="http://schemas.microsoft.com/office/powerpoint/2012/main" userId="S::deng_masshousing.com#ext#@massgov.onmicrosoft.com::050a3089-fde2-4699-bd7d-40bf7c6f7fca" providerId="AD"/>
      </p:ext>
    </p:extLst>
  </p:cmAuthor>
  <p:cmAuthor id="14" name="Rachel Madden" initials="RM" lastIdx="4" clrIdx="13">
    <p:extLst>
      <p:ext uri="{19B8F6BF-5375-455C-9EA6-DF929625EA0E}">
        <p15:presenceInfo xmlns:p15="http://schemas.microsoft.com/office/powerpoint/2012/main" userId="S::RMadden@masshousing.com::93bbe638-57f6-4543-9b67-b838a0a6b207" providerId="AD"/>
      </p:ext>
    </p:extLst>
  </p:cmAuthor>
  <p:cmAuthor id="15" name="Maddox, Jennifer (OCD)" initials="M(" lastIdx="4" clrIdx="14">
    <p:extLst>
      <p:ext uri="{19B8F6BF-5375-455C-9EA6-DF929625EA0E}">
        <p15:presenceInfo xmlns:p15="http://schemas.microsoft.com/office/powerpoint/2012/main" userId="S::jennifer.maddox@mass.gov::a71eb79b-ec24-4c5a-9790-011062a5c6d7" providerId="AD"/>
      </p:ext>
    </p:extLst>
  </p:cmAuthor>
  <p:cmAuthor id="16" name="Rubin, Roberta (OCD)" initials="RR(" lastIdx="1" clrIdx="15">
    <p:extLst>
      <p:ext uri="{19B8F6BF-5375-455C-9EA6-DF929625EA0E}">
        <p15:presenceInfo xmlns:p15="http://schemas.microsoft.com/office/powerpoint/2012/main" userId="Rubin, Roberta (OCD)" providerId="None"/>
      </p:ext>
    </p:extLst>
  </p:cmAuthor>
  <p:cmAuthor id="17" name="Ullman, Rebecca" initials="UR" lastIdx="31" clrIdx="16">
    <p:extLst>
      <p:ext uri="{19B8F6BF-5375-455C-9EA6-DF929625EA0E}">
        <p15:presenceInfo xmlns:p15="http://schemas.microsoft.com/office/powerpoint/2012/main" userId="S::RUllman@trcsolutions.com::6f728da2-1fd3-492b-bebd-3c731c3cc5a0" providerId="AD"/>
      </p:ext>
    </p:extLst>
  </p:cmAuthor>
  <p:cmAuthor id="18" name="Kang, Christine (GOV)" initials="KC(" lastIdx="21" clrIdx="17">
    <p:extLst>
      <p:ext uri="{19B8F6BF-5375-455C-9EA6-DF929625EA0E}">
        <p15:presenceInfo xmlns:p15="http://schemas.microsoft.com/office/powerpoint/2012/main" userId="S::christine.kang@mass.gov::5a865a26-d2ba-4079-bcd2-99925c757c95" providerId="AD"/>
      </p:ext>
    </p:extLst>
  </p:cmAuthor>
  <p:cmAuthor id="19" name="Allen, Malia M. (EOHED)" initials="AMM(" lastIdx="1" clrIdx="18">
    <p:extLst>
      <p:ext uri="{19B8F6BF-5375-455C-9EA6-DF929625EA0E}">
        <p15:presenceInfo xmlns:p15="http://schemas.microsoft.com/office/powerpoint/2012/main" userId="S-1-5-21-1078081533-706699826-839522115-84374" providerId="AD"/>
      </p:ext>
    </p:extLst>
  </p:cmAuthor>
  <p:cmAuthor id="20" name="Rachel Madden" initials="RM [2]" lastIdx="11" clrIdx="19">
    <p:extLst>
      <p:ext uri="{19B8F6BF-5375-455C-9EA6-DF929625EA0E}">
        <p15:presenceInfo xmlns:p15="http://schemas.microsoft.com/office/powerpoint/2012/main" userId="S::rmadden_masshousing.com#ext#@massgov.onmicrosoft.com::470bb086-0261-4d43-beea-0209455dcc6f" providerId="AD"/>
      </p:ext>
    </p:extLst>
  </p:cmAuthor>
  <p:cmAuthor id="21" name="Amy Mullen" initials="AM" lastIdx="6" clrIdx="20">
    <p:extLst>
      <p:ext uri="{19B8F6BF-5375-455C-9EA6-DF929625EA0E}">
        <p15:presenceInfo xmlns:p15="http://schemas.microsoft.com/office/powerpoint/2012/main" userId="S::amy.mullen2@mass.gov::e81bce94-ddc1-4a47-a6f7-d6bba6815460" providerId="AD"/>
      </p:ext>
    </p:extLst>
  </p:cmAuthor>
  <p:cmAuthor id="22" name="Allen, Malia M. (EOHED)" initials="A(" lastIdx="44" clrIdx="21">
    <p:extLst>
      <p:ext uri="{19B8F6BF-5375-455C-9EA6-DF929625EA0E}">
        <p15:presenceInfo xmlns:p15="http://schemas.microsoft.com/office/powerpoint/2012/main" userId="S::malia.m.allen@mass.gov::2e3ed45b-3dd8-433a-a324-75694be93851" providerId="AD"/>
      </p:ext>
    </p:extLst>
  </p:cmAuthor>
  <p:cmAuthor id="23" name="Adams, Bryan J (OCD)" initials="A(" lastIdx="8" clrIdx="22">
    <p:extLst>
      <p:ext uri="{19B8F6BF-5375-455C-9EA6-DF929625EA0E}">
        <p15:presenceInfo xmlns:p15="http://schemas.microsoft.com/office/powerpoint/2012/main" userId="S::bryanj.adams@mass.gov::6719c872-4524-414e-97b8-e89bfa41f4ba" providerId="AD"/>
      </p:ext>
    </p:extLst>
  </p:cmAuthor>
  <p:cmAuthor id="24" name="Patel, Ketav (EOHED)" initials="P(" lastIdx="1" clrIdx="23">
    <p:extLst>
      <p:ext uri="{19B8F6BF-5375-455C-9EA6-DF929625EA0E}">
        <p15:presenceInfo xmlns:p15="http://schemas.microsoft.com/office/powerpoint/2012/main" userId="S::ketav.patel@mass.gov::4593aaf5-5cde-4fdb-9aa0-d4d30cd88254" providerId="AD"/>
      </p:ext>
    </p:extLst>
  </p:cmAuthor>
  <p:cmAuthor id="25" name="Attia, Mark (A&amp;F)" initials="MCA" lastIdx="1" clrIdx="24">
    <p:extLst>
      <p:ext uri="{19B8F6BF-5375-455C-9EA6-DF929625EA0E}">
        <p15:presenceInfo xmlns:p15="http://schemas.microsoft.com/office/powerpoint/2012/main" userId="Attia, Mark (A&amp;F)" providerId="None"/>
      </p:ext>
    </p:extLst>
  </p:cmAuthor>
  <p:cmAuthor id="26" name="Butman, Molly (OCD)" initials="B(" lastIdx="2" clrIdx="25">
    <p:extLst>
      <p:ext uri="{19B8F6BF-5375-455C-9EA6-DF929625EA0E}">
        <p15:presenceInfo xmlns:p15="http://schemas.microsoft.com/office/powerpoint/2012/main" userId="S::molly.butman@mass.gov::27ac62bc-2300-4c2d-ad2b-229bf03e1faa" providerId="AD"/>
      </p:ext>
    </p:extLst>
  </p:cmAuthor>
  <p:cmAuthor id="27" name="McKeon, Brian (GOV)" initials="M(" lastIdx="10" clrIdx="26">
    <p:extLst>
      <p:ext uri="{19B8F6BF-5375-455C-9EA6-DF929625EA0E}">
        <p15:presenceInfo xmlns:p15="http://schemas.microsoft.com/office/powerpoint/2012/main" userId="S::brian.mckeon@mass.gov::78515822-7350-4489-9b48-7b0b57c8f8ee" providerId="AD"/>
      </p:ext>
    </p:extLst>
  </p:cmAuthor>
  <p:cmAuthor id="28" name="Chien, Edward (OCD)" initials="C(" lastIdx="10" clrIdx="27">
    <p:extLst>
      <p:ext uri="{19B8F6BF-5375-455C-9EA6-DF929625EA0E}">
        <p15:presenceInfo xmlns:p15="http://schemas.microsoft.com/office/powerpoint/2012/main" userId="S::edward.chien@mass.gov::849a6413-7670-4a24-969c-f0b8ec02e690" providerId="AD"/>
      </p:ext>
    </p:extLst>
  </p:cmAuthor>
  <p:cmAuthor id="29" name="Newhall, Tyler (OCD)" initials="N(" lastIdx="1" clrIdx="28">
    <p:extLst>
      <p:ext uri="{19B8F6BF-5375-455C-9EA6-DF929625EA0E}">
        <p15:presenceInfo xmlns:p15="http://schemas.microsoft.com/office/powerpoint/2012/main" userId="S::tyler.newhall@mass.gov::b8046d80-f37b-47d7-953d-e4125017ade5" providerId="AD"/>
      </p:ext>
    </p:extLst>
  </p:cmAuthor>
  <p:cmAuthor id="30" name="Ross, Robert (GOV)" initials="R(" lastIdx="10" clrIdx="29">
    <p:extLst>
      <p:ext uri="{19B8F6BF-5375-455C-9EA6-DF929625EA0E}">
        <p15:presenceInfo xmlns:p15="http://schemas.microsoft.com/office/powerpoint/2012/main" userId="S::robert.ross@mass.gov::6a782312-559c-4e3f-8778-39ded04df360" providerId="AD"/>
      </p:ext>
    </p:extLst>
  </p:cmAuthor>
  <p:cmAuthor id="31" name="Dixon, Lisa (GOV)" initials="D(" lastIdx="1" clrIdx="30">
    <p:extLst>
      <p:ext uri="{19B8F6BF-5375-455C-9EA6-DF929625EA0E}">
        <p15:presenceInfo xmlns:p15="http://schemas.microsoft.com/office/powerpoint/2012/main" userId="S::lisa.dixon@massmail.state.ma.us::0102ffc9-1810-4a11-9af4-f525e512b0ea" providerId="AD"/>
      </p:ext>
    </p:extLst>
  </p:cmAuthor>
  <p:cmAuthor id="32" name="Murray, Cory (OCD)" initials="M(" lastIdx="4" clrIdx="31">
    <p:extLst>
      <p:ext uri="{19B8F6BF-5375-455C-9EA6-DF929625EA0E}">
        <p15:presenceInfo xmlns:p15="http://schemas.microsoft.com/office/powerpoint/2012/main" userId="S::cory.murray@mass.gov::96a80f88-2a13-4efe-b26a-4325663616a5" providerId="AD"/>
      </p:ext>
    </p:extLst>
  </p:cmAuthor>
  <p:cmAuthor id="33" name="Brevard, Alvina (OCD)" initials="B(" lastIdx="2" clrIdx="32">
    <p:extLst>
      <p:ext uri="{19B8F6BF-5375-455C-9EA6-DF929625EA0E}">
        <p15:presenceInfo xmlns:p15="http://schemas.microsoft.com/office/powerpoint/2012/main" userId="S::alvina.brevard@mass.gov::5768be77-ebd1-4951-bd25-b5fd57dd4ddf" providerId="AD"/>
      </p:ext>
    </p:extLst>
  </p:cmAuthor>
  <p:cmAuthor id="34" name="O'Hanlon, Rory C.  (EOHED)" initials="O(" lastIdx="1" clrIdx="33">
    <p:extLst>
      <p:ext uri="{19B8F6BF-5375-455C-9EA6-DF929625EA0E}">
        <p15:presenceInfo xmlns:p15="http://schemas.microsoft.com/office/powerpoint/2012/main" userId="S::rory.c.ohanlon@mass.gov::b85f697f-f195-4d84-93dd-de284b9b939b" providerId="AD"/>
      </p:ext>
    </p:extLst>
  </p:cmAuthor>
  <p:cmAuthor id="35" name="Letchford, Mary (OCD)" initials="L(" lastIdx="1" clrIdx="34">
    <p:extLst>
      <p:ext uri="{19B8F6BF-5375-455C-9EA6-DF929625EA0E}">
        <p15:presenceInfo xmlns:p15="http://schemas.microsoft.com/office/powerpoint/2012/main" userId="S::mary.letchford@mass.gov::9a32f4a7-25d3-4e15-960e-e00d3650e27d" providerId="AD"/>
      </p:ext>
    </p:extLst>
  </p:cmAuthor>
  <p:cmAuthor id="36" name="Wilhoite, Jake (OCD)" initials="W(" lastIdx="2" clrIdx="35">
    <p:extLst>
      <p:ext uri="{19B8F6BF-5375-455C-9EA6-DF929625EA0E}">
        <p15:presenceInfo xmlns:p15="http://schemas.microsoft.com/office/powerpoint/2012/main" userId="S::jake.wilhoite@mass.gov::b2ae1152-dca4-4a0c-b9bc-0d2f91cd3a9f" providerId="AD"/>
      </p:ext>
    </p:extLst>
  </p:cmAuthor>
  <p:cmAuthor id="37" name="Lin, Anne (OCD)" initials="L(" lastIdx="6" clrIdx="36">
    <p:extLst>
      <p:ext uri="{19B8F6BF-5375-455C-9EA6-DF929625EA0E}">
        <p15:presenceInfo xmlns:p15="http://schemas.microsoft.com/office/powerpoint/2012/main" userId="S::anne.lin@mass.gov::9f67a6df-e39b-4cdb-a10f-a4cb15e56e92" providerId="AD"/>
      </p:ext>
    </p:extLst>
  </p:cmAuthor>
  <p:cmAuthor id="38" name="Collins, Kerry (EPS)" initials="CK(" lastIdx="4" clrIdx="37">
    <p:extLst>
      <p:ext uri="{19B8F6BF-5375-455C-9EA6-DF929625EA0E}">
        <p15:presenceInfo xmlns:p15="http://schemas.microsoft.com/office/powerpoint/2012/main" userId="S::kerry.collins@mass.gov::faeb9980-173a-41f4-956c-abf71104df2e" providerId="AD"/>
      </p:ext>
    </p:extLst>
  </p:cmAuthor>
  <p:cmAuthor id="39" name="Venkatachalam, Krishna (EPS)" initials="VK(" lastIdx="11" clrIdx="38">
    <p:extLst>
      <p:ext uri="{19B8F6BF-5375-455C-9EA6-DF929625EA0E}">
        <p15:presenceInfo xmlns:p15="http://schemas.microsoft.com/office/powerpoint/2012/main" userId="S::krishna.venkatachalam@mass.gov::88a60ae9-9835-4cd0-9592-466b6a21115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F497D"/>
    <a:srgbClr val="FFFFFF"/>
    <a:srgbClr val="009AD7"/>
    <a:srgbClr val="19670F"/>
    <a:srgbClr val="999999"/>
    <a:srgbClr val="E8EFFA"/>
    <a:srgbClr val="F0F3F7"/>
    <a:srgbClr val="89A6C2"/>
    <a:srgbClr val="BFBFBF"/>
    <a:srgbClr val="A1AFC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88B7F2B-1F98-4932-ADFC-9DEA7CED9D72}" v="558" dt="2022-03-29T16:01:31.49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87" d="100"/>
          <a:sy n="87" d="100"/>
        </p:scale>
        <p:origin x="66" y="342"/>
      </p:cViewPr>
      <p:guideLst>
        <p:guide orient="horz" pos="696"/>
        <p:guide pos="3839"/>
        <p:guide orient="horz" pos="1152"/>
        <p:guide orient="horz" pos="1392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20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7739" cy="469424"/>
          </a:xfrm>
          <a:prstGeom prst="rect">
            <a:avLst/>
          </a:prstGeom>
        </p:spPr>
        <p:txBody>
          <a:bodyPr vert="horz" lIns="94229" tIns="47114" rIns="94229" bIns="47114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092" y="0"/>
            <a:ext cx="3077739" cy="469424"/>
          </a:xfrm>
          <a:prstGeom prst="rect">
            <a:avLst/>
          </a:prstGeom>
        </p:spPr>
        <p:txBody>
          <a:bodyPr vert="horz" lIns="94229" tIns="47114" rIns="94229" bIns="47114" rtlCol="0"/>
          <a:lstStyle>
            <a:lvl1pPr algn="r">
              <a:defRPr sz="1200"/>
            </a:lvl1pPr>
          </a:lstStyle>
          <a:p>
            <a:fld id="{2658F63A-940C-4E55-A479-A0499EA9FC6A}" type="datetimeFigureOut">
              <a:rPr lang="en-US" smtClean="0"/>
              <a:t>4/1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3863" y="704850"/>
            <a:ext cx="6254750" cy="35194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229" tIns="47114" rIns="94229" bIns="47114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10248" y="4459526"/>
            <a:ext cx="5681980" cy="4224814"/>
          </a:xfrm>
          <a:prstGeom prst="rect">
            <a:avLst/>
          </a:prstGeom>
        </p:spPr>
        <p:txBody>
          <a:bodyPr vert="horz" lIns="94229" tIns="47114" rIns="94229" bIns="47114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917422"/>
            <a:ext cx="3077739" cy="469424"/>
          </a:xfrm>
          <a:prstGeom prst="rect">
            <a:avLst/>
          </a:prstGeom>
        </p:spPr>
        <p:txBody>
          <a:bodyPr vert="horz" lIns="94229" tIns="47114" rIns="94229" bIns="47114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092" y="8917422"/>
            <a:ext cx="3077739" cy="469424"/>
          </a:xfrm>
          <a:prstGeom prst="rect">
            <a:avLst/>
          </a:prstGeom>
        </p:spPr>
        <p:txBody>
          <a:bodyPr vert="horz" lIns="94229" tIns="47114" rIns="94229" bIns="47114" rtlCol="0" anchor="b"/>
          <a:lstStyle>
            <a:lvl1pPr algn="r">
              <a:defRPr sz="1200"/>
            </a:lvl1pPr>
          </a:lstStyle>
          <a:p>
            <a:fld id="{51E8D6EA-BFB4-46D9-AE29-A37DC2FD682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16022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609493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18987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28480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37973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7467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6960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6453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5947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1E8D6EA-BFB4-46D9-AE29-A37DC2FD6823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26663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1E8D6EA-BFB4-46D9-AE29-A37DC2FD6823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293605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1E8D6EA-BFB4-46D9-AE29-A37DC2FD6823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039952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1E8D6EA-BFB4-46D9-AE29-A37DC2FD6823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78027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4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5.png"/><Relationship Id="rId4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8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6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9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7" Type="http://schemas.openxmlformats.org/officeDocument/2006/relationships/image" Target="../media/image8.png"/><Relationship Id="rId2" Type="http://schemas.openxmlformats.org/officeDocument/2006/relationships/tags" Target="../tags/tag17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7" Type="http://schemas.openxmlformats.org/officeDocument/2006/relationships/image" Target="../media/image8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7" Type="http://schemas.openxmlformats.org/officeDocument/2006/relationships/image" Target="../media/image8.png"/><Relationship Id="rId2" Type="http://schemas.openxmlformats.org/officeDocument/2006/relationships/tags" Target="../tags/tag21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7" Type="http://schemas.openxmlformats.org/officeDocument/2006/relationships/image" Target="../media/image8.png"/><Relationship Id="rId2" Type="http://schemas.openxmlformats.org/officeDocument/2006/relationships/tags" Target="../tags/tag23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7" Type="http://schemas.openxmlformats.org/officeDocument/2006/relationships/image" Target="../media/image8.png"/><Relationship Id="rId2" Type="http://schemas.openxmlformats.org/officeDocument/2006/relationships/tags" Target="../tags/tag2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7" Type="http://schemas.openxmlformats.org/officeDocument/2006/relationships/image" Target="../media/image9.png"/><Relationship Id="rId2" Type="http://schemas.openxmlformats.org/officeDocument/2006/relationships/tags" Target="../tags/tag27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7" Type="http://schemas.openxmlformats.org/officeDocument/2006/relationships/image" Target="../media/image10.png"/><Relationship Id="rId2" Type="http://schemas.openxmlformats.org/officeDocument/2006/relationships/tags" Target="../tags/tag29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7" Type="http://schemas.openxmlformats.org/officeDocument/2006/relationships/image" Target="../media/image12.png"/><Relationship Id="rId2" Type="http://schemas.openxmlformats.org/officeDocument/2006/relationships/tags" Target="../tags/tag31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34.xml"/><Relationship Id="rId7" Type="http://schemas.openxmlformats.org/officeDocument/2006/relationships/image" Target="../media/image10.png"/><Relationship Id="rId2" Type="http://schemas.openxmlformats.org/officeDocument/2006/relationships/tags" Target="../tags/tag33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36.xml"/><Relationship Id="rId7" Type="http://schemas.openxmlformats.org/officeDocument/2006/relationships/image" Target="../media/image9.png"/><Relationship Id="rId2" Type="http://schemas.openxmlformats.org/officeDocument/2006/relationships/tags" Target="../tags/tag35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38.xml"/><Relationship Id="rId7" Type="http://schemas.openxmlformats.org/officeDocument/2006/relationships/image" Target="../media/image10.png"/><Relationship Id="rId2" Type="http://schemas.openxmlformats.org/officeDocument/2006/relationships/tags" Target="../tags/tag37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40.xml"/><Relationship Id="rId7" Type="http://schemas.openxmlformats.org/officeDocument/2006/relationships/image" Target="../media/image9.png"/><Relationship Id="rId2" Type="http://schemas.openxmlformats.org/officeDocument/2006/relationships/tags" Target="../tags/tag39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42.xml"/><Relationship Id="rId7" Type="http://schemas.openxmlformats.org/officeDocument/2006/relationships/image" Target="../media/image10.png"/><Relationship Id="rId2" Type="http://schemas.openxmlformats.org/officeDocument/2006/relationships/tags" Target="../tags/tag41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3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23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4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24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45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8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5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7" Type="http://schemas.openxmlformats.org/officeDocument/2006/relationships/image" Target="../media/image7.png"/><Relationship Id="rId2" Type="http://schemas.openxmlformats.org/officeDocument/2006/relationships/tags" Target="../tags/tag46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6.bin"/><Relationship Id="rId4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8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27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9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28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0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29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tags" Target="../tags/tag52.xml"/><Relationship Id="rId7" Type="http://schemas.openxmlformats.org/officeDocument/2006/relationships/image" Target="../media/image13.jpeg"/><Relationship Id="rId2" Type="http://schemas.openxmlformats.org/officeDocument/2006/relationships/tags" Target="../tags/tag51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0.bin"/><Relationship Id="rId4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3.xml"/><Relationship Id="rId1" Type="http://schemas.openxmlformats.org/officeDocument/2006/relationships/vmlDrawing" Target="../drawings/vmlDrawing31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1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4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13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2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tags" Target="../tags/tag56.xml"/><Relationship Id="rId7" Type="http://schemas.openxmlformats.org/officeDocument/2006/relationships/image" Target="../media/image7.png"/><Relationship Id="rId2" Type="http://schemas.openxmlformats.org/officeDocument/2006/relationships/tags" Target="../tags/tag55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33.bin"/><Relationship Id="rId4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7" Type="http://schemas.openxmlformats.org/officeDocument/2006/relationships/image" Target="../media/image7.png"/><Relationship Id="rId2" Type="http://schemas.openxmlformats.org/officeDocument/2006/relationships/tags" Target="../tags/tag57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34.bin"/><Relationship Id="rId4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7" Type="http://schemas.openxmlformats.org/officeDocument/2006/relationships/image" Target="../media/image7.png"/><Relationship Id="rId2" Type="http://schemas.openxmlformats.org/officeDocument/2006/relationships/tags" Target="../tags/tag59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35.bin"/><Relationship Id="rId4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1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6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2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7.bin"/></Relationships>
</file>

<file path=ppt/slideLayouts/_rels/slideLayout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64.xml"/><Relationship Id="rId7" Type="http://schemas.openxmlformats.org/officeDocument/2006/relationships/image" Target="../media/image8.png"/><Relationship Id="rId2" Type="http://schemas.openxmlformats.org/officeDocument/2006/relationships/tags" Target="../tags/tag63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38.bin"/><Relationship Id="rId4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66.xml"/><Relationship Id="rId7" Type="http://schemas.openxmlformats.org/officeDocument/2006/relationships/image" Target="../media/image8.png"/><Relationship Id="rId2" Type="http://schemas.openxmlformats.org/officeDocument/2006/relationships/tags" Target="../tags/tag65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39.bin"/><Relationship Id="rId4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68.xml"/><Relationship Id="rId7" Type="http://schemas.openxmlformats.org/officeDocument/2006/relationships/image" Target="../media/image8.png"/><Relationship Id="rId2" Type="http://schemas.openxmlformats.org/officeDocument/2006/relationships/tags" Target="../tags/tag67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40.bin"/><Relationship Id="rId4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70.xml"/><Relationship Id="rId7" Type="http://schemas.openxmlformats.org/officeDocument/2006/relationships/image" Target="../media/image8.png"/><Relationship Id="rId2" Type="http://schemas.openxmlformats.org/officeDocument/2006/relationships/tags" Target="../tags/tag69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41.bin"/><Relationship Id="rId4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72.xml"/><Relationship Id="rId7" Type="http://schemas.openxmlformats.org/officeDocument/2006/relationships/image" Target="../media/image8.png"/><Relationship Id="rId2" Type="http://schemas.openxmlformats.org/officeDocument/2006/relationships/tags" Target="../tags/tag71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42.bin"/><Relationship Id="rId4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74.xml"/><Relationship Id="rId7" Type="http://schemas.openxmlformats.org/officeDocument/2006/relationships/image" Target="../media/image8.png"/><Relationship Id="rId2" Type="http://schemas.openxmlformats.org/officeDocument/2006/relationships/tags" Target="../tags/tag73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76.xml"/><Relationship Id="rId7" Type="http://schemas.openxmlformats.org/officeDocument/2006/relationships/image" Target="../media/image9.png"/><Relationship Id="rId2" Type="http://schemas.openxmlformats.org/officeDocument/2006/relationships/tags" Target="../tags/tag75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44.bin"/><Relationship Id="rId4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78.xml"/><Relationship Id="rId7" Type="http://schemas.openxmlformats.org/officeDocument/2006/relationships/image" Target="../media/image10.png"/><Relationship Id="rId2" Type="http://schemas.openxmlformats.org/officeDocument/2006/relationships/tags" Target="../tags/tag77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45.bin"/><Relationship Id="rId4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80.xml"/><Relationship Id="rId7" Type="http://schemas.openxmlformats.org/officeDocument/2006/relationships/image" Target="../media/image12.png"/><Relationship Id="rId2" Type="http://schemas.openxmlformats.org/officeDocument/2006/relationships/tags" Target="../tags/tag79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46.bin"/><Relationship Id="rId4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82.xml"/><Relationship Id="rId7" Type="http://schemas.openxmlformats.org/officeDocument/2006/relationships/image" Target="../media/image10.png"/><Relationship Id="rId2" Type="http://schemas.openxmlformats.org/officeDocument/2006/relationships/tags" Target="../tags/tag81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47.bin"/><Relationship Id="rId4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84.xml"/><Relationship Id="rId7" Type="http://schemas.openxmlformats.org/officeDocument/2006/relationships/image" Target="../media/image9.png"/><Relationship Id="rId2" Type="http://schemas.openxmlformats.org/officeDocument/2006/relationships/tags" Target="../tags/tag83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48.bin"/><Relationship Id="rId4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86.xml"/><Relationship Id="rId7" Type="http://schemas.openxmlformats.org/officeDocument/2006/relationships/image" Target="../media/image10.png"/><Relationship Id="rId2" Type="http://schemas.openxmlformats.org/officeDocument/2006/relationships/tags" Target="../tags/tag85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49.bin"/><Relationship Id="rId4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88.xml"/><Relationship Id="rId7" Type="http://schemas.openxmlformats.org/officeDocument/2006/relationships/image" Target="../media/image9.png"/><Relationship Id="rId2" Type="http://schemas.openxmlformats.org/officeDocument/2006/relationships/tags" Target="../tags/tag87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50.bin"/><Relationship Id="rId4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90.xml"/><Relationship Id="rId7" Type="http://schemas.openxmlformats.org/officeDocument/2006/relationships/image" Target="../media/image10.png"/><Relationship Id="rId2" Type="http://schemas.openxmlformats.org/officeDocument/2006/relationships/tags" Target="../tags/tag89.xml"/><Relationship Id="rId1" Type="http://schemas.openxmlformats.org/officeDocument/2006/relationships/vmlDrawing" Target="../drawings/vmlDrawing51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51.bin"/><Relationship Id="rId4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1.xml"/><Relationship Id="rId1" Type="http://schemas.openxmlformats.org/officeDocument/2006/relationships/vmlDrawing" Target="../drawings/vmlDrawing52.v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52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2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53.bin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93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8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4.bin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7" Type="http://schemas.openxmlformats.org/officeDocument/2006/relationships/image" Target="../media/image7.png"/><Relationship Id="rId2" Type="http://schemas.openxmlformats.org/officeDocument/2006/relationships/tags" Target="../tags/tag94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55.bin"/><Relationship Id="rId4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96.xml"/><Relationship Id="rId1" Type="http://schemas.openxmlformats.org/officeDocument/2006/relationships/vmlDrawing" Target="../drawings/vmlDrawing56.vml"/><Relationship Id="rId6" Type="http://schemas.openxmlformats.org/officeDocument/2006/relationships/image" Target="../media/image9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56.bin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7.xml"/><Relationship Id="rId1" Type="http://schemas.openxmlformats.org/officeDocument/2006/relationships/vmlDrawing" Target="../drawings/vmlDrawing57.v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57.bin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8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58.bin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9.xml"/><Relationship Id="rId1" Type="http://schemas.openxmlformats.org/officeDocument/2006/relationships/vmlDrawing" Target="../drawings/vmlDrawing59.v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59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0.xml"/><Relationship Id="rId1" Type="http://schemas.openxmlformats.org/officeDocument/2006/relationships/vmlDrawing" Target="../drawings/vmlDrawing60.vml"/><Relationship Id="rId6" Type="http://schemas.openxmlformats.org/officeDocument/2006/relationships/image" Target="../media/image13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60.bin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1.xml"/><Relationship Id="rId1" Type="http://schemas.openxmlformats.org/officeDocument/2006/relationships/vmlDrawing" Target="../drawings/vmlDrawing61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61.bin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tags" Target="../tags/tag103.xml"/><Relationship Id="rId7" Type="http://schemas.openxmlformats.org/officeDocument/2006/relationships/image" Target="../media/image7.png"/><Relationship Id="rId2" Type="http://schemas.openxmlformats.org/officeDocument/2006/relationships/tags" Target="../tags/tag102.xml"/><Relationship Id="rId1" Type="http://schemas.openxmlformats.org/officeDocument/2006/relationships/vmlDrawing" Target="../drawings/vmlDrawing6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2.bin"/><Relationship Id="rId4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4.xml"/><Relationship Id="rId1" Type="http://schemas.openxmlformats.org/officeDocument/2006/relationships/vmlDrawing" Target="../drawings/vmlDrawing63.vml"/><Relationship Id="rId6" Type="http://schemas.openxmlformats.org/officeDocument/2006/relationships/image" Target="../media/image7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63.bin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5.xml"/><Relationship Id="rId1" Type="http://schemas.openxmlformats.org/officeDocument/2006/relationships/vmlDrawing" Target="../drawings/vmlDrawing64.vml"/><Relationship Id="rId6" Type="http://schemas.openxmlformats.org/officeDocument/2006/relationships/image" Target="../media/image7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64.bin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106.xml"/><Relationship Id="rId1" Type="http://schemas.openxmlformats.org/officeDocument/2006/relationships/vmlDrawing" Target="../drawings/vmlDrawing65.vml"/><Relationship Id="rId6" Type="http://schemas.openxmlformats.org/officeDocument/2006/relationships/image" Target="../media/image8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65.bin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7" Type="http://schemas.openxmlformats.org/officeDocument/2006/relationships/image" Target="../media/image7.png"/><Relationship Id="rId2" Type="http://schemas.openxmlformats.org/officeDocument/2006/relationships/tags" Target="../tags/tag107.xml"/><Relationship Id="rId1" Type="http://schemas.openxmlformats.org/officeDocument/2006/relationships/vmlDrawing" Target="../drawings/vmlDrawing6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6.bin"/><Relationship Id="rId4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9.xml"/><Relationship Id="rId1" Type="http://schemas.openxmlformats.org/officeDocument/2006/relationships/vmlDrawing" Target="../drawings/vmlDrawing67.vml"/><Relationship Id="rId6" Type="http://schemas.openxmlformats.org/officeDocument/2006/relationships/image" Target="../media/image7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67.bin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0.xml"/><Relationship Id="rId1" Type="http://schemas.openxmlformats.org/officeDocument/2006/relationships/vmlDrawing" Target="../drawings/vmlDrawing68.vml"/><Relationship Id="rId6" Type="http://schemas.openxmlformats.org/officeDocument/2006/relationships/image" Target="../media/image7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68.bin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111.xml"/><Relationship Id="rId1" Type="http://schemas.openxmlformats.org/officeDocument/2006/relationships/vmlDrawing" Target="../drawings/vmlDrawing69.vml"/><Relationship Id="rId6" Type="http://schemas.openxmlformats.org/officeDocument/2006/relationships/image" Target="../media/image8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69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112.xml"/><Relationship Id="rId1" Type="http://schemas.openxmlformats.org/officeDocument/2006/relationships/vmlDrawing" Target="../drawings/vmlDrawing70.vml"/><Relationship Id="rId6" Type="http://schemas.openxmlformats.org/officeDocument/2006/relationships/image" Target="../media/image9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70.bin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162" y="2130426"/>
            <a:ext cx="10360501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324" y="3886200"/>
            <a:ext cx="8532178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4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9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4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9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4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4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9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441" y="6518275"/>
            <a:ext cx="2844059" cy="365125"/>
          </a:xfrm>
        </p:spPr>
        <p:txBody>
          <a:bodyPr/>
          <a:lstStyle/>
          <a:p>
            <a:fld id="{2FD3F161-6630-4C97-BB97-03FC46C38CEA}" type="datetime1">
              <a:rPr lang="en-US" smtClean="0"/>
              <a:t>4/1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4515" y="6518275"/>
            <a:ext cx="3859795" cy="365125"/>
          </a:xfrm>
        </p:spPr>
        <p:txBody>
          <a:bodyPr/>
          <a:lstStyle>
            <a:lvl1pPr>
              <a:defRPr sz="900">
                <a:solidFill>
                  <a:srgbClr val="FF0000"/>
                </a:solidFill>
              </a:defRPr>
            </a:lvl1pPr>
          </a:lstStyle>
          <a:p>
            <a:r>
              <a:rPr lang="en-US" dirty="0"/>
              <a:t>DRAFT FOR POLICY AND PROGRAM DEVELOPMEN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5325" y="6518275"/>
            <a:ext cx="2844059" cy="365125"/>
          </a:xfrm>
        </p:spPr>
        <p:txBody>
          <a:bodyPr/>
          <a:lstStyle/>
          <a:p>
            <a:fld id="{48F239AC-B64B-47D9-9A99-24B0D39D1C1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813342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008F6E-4F9F-44DB-B455-7728627C20C8}" type="datetime1">
              <a:rPr lang="en-US" smtClean="0"/>
              <a:t>4/1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RAFT FOR POLICY AND PROGRAM DEVELOPMEN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239AC-B64B-47D9-9A99-24B0D39D1C1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840833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6898" y="206374"/>
            <a:ext cx="2742486" cy="4387851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441" y="206374"/>
            <a:ext cx="8024310" cy="4387851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E90718-0528-4DD8-BADE-1AAE5E2BEFFF}" type="datetime1">
              <a:rPr lang="en-US" smtClean="0"/>
              <a:t>4/1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RAFT FOR POLICY AND PROGRAM DEVELOPMEN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239AC-B64B-47D9-9A99-24B0D39D1C1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82133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99138034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6" imgW="384" imgH="384" progId="TCLayout.ActiveDocument.1">
                  <p:embed/>
                </p:oleObj>
              </mc:Choice>
              <mc:Fallback>
                <p:oleObj name="think-cell Slide" r:id="rId6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 dirty="0">
              <a:solidFill>
                <a:srgbClr val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28541" y="1614340"/>
            <a:ext cx="2471093" cy="281103"/>
          </a:xfrm>
        </p:spPr>
        <p:txBody>
          <a:bodyPr wrap="square">
            <a:spAutoFit/>
          </a:bodyPr>
          <a:lstStyle>
            <a:lvl1pPr>
              <a:defRPr lang="en-US" sz="18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1800" smtClean="0"/>
            </a:lvl2pPr>
            <a:lvl3pPr>
              <a:defRPr lang="en-US" sz="1800" smtClean="0"/>
            </a:lvl3pPr>
            <a:lvl4pPr>
              <a:defRPr lang="en-US" sz="1800" smtClean="0">
                <a:solidFill>
                  <a:schemeClr val="tx1"/>
                </a:solidFill>
              </a:defRPr>
            </a:lvl4pPr>
            <a:lvl5pPr>
              <a:defRPr lang="en-US" sz="1800"/>
            </a:lvl5pPr>
          </a:lstStyle>
          <a:p>
            <a:pPr lvl="0" defTabSz="914126"/>
            <a:r>
              <a:rPr lang="en-US"/>
              <a:t>Click to add date</a:t>
            </a: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228540" y="533400"/>
            <a:ext cx="7940618" cy="443198"/>
          </a:xfrm>
        </p:spPr>
        <p:txBody>
          <a:bodyPr wrap="square">
            <a:spAutoFit/>
          </a:bodyPr>
          <a:lstStyle>
            <a:lvl1pPr>
              <a:defRPr lang="en-US" sz="3200" b="1" baseline="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defTabSz="914126">
              <a:spcBef>
                <a:spcPts val="600"/>
              </a:spcBef>
            </a:pPr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515183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2269845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62565" y="606288"/>
            <a:ext cx="10114878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447559" y="1143000"/>
            <a:ext cx="11112780" cy="0"/>
          </a:xfrm>
          <a:prstGeom prst="line">
            <a:avLst/>
          </a:prstGeom>
          <a:ln w="9525">
            <a:solidFill>
              <a:srgbClr val="0C2D83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462565" y="1219201"/>
            <a:ext cx="11097773" cy="5125577"/>
          </a:xfrm>
          <a:prstGeom prst="rect">
            <a:avLst/>
          </a:prstGeom>
        </p:spPr>
        <p:txBody>
          <a:bodyPr/>
          <a:lstStyle>
            <a:lvl1pPr>
              <a:buClrTx/>
              <a:defRPr sz="2000" b="0">
                <a:latin typeface="+mn-lt"/>
                <a:ea typeface="+mn-ea"/>
                <a:cs typeface="+mn-cs"/>
                <a:sym typeface="+mn-lt"/>
              </a:defRPr>
            </a:lvl1pPr>
            <a:lvl2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body</a:t>
            </a:r>
          </a:p>
        </p:txBody>
      </p:sp>
    </p:spTree>
    <p:extLst>
      <p:ext uri="{BB962C8B-B14F-4D97-AF65-F5344CB8AC3E}">
        <p14:creationId xmlns:p14="http://schemas.microsoft.com/office/powerpoint/2010/main" val="3959784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5888804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62565" y="606288"/>
            <a:ext cx="10114878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447559" y="533400"/>
            <a:ext cx="10018932" cy="0"/>
          </a:xfrm>
          <a:prstGeom prst="line">
            <a:avLst/>
          </a:prstGeom>
          <a:ln w="12700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>
            <a:off x="447559" y="1143000"/>
            <a:ext cx="11112780" cy="0"/>
          </a:xfrm>
          <a:prstGeom prst="line">
            <a:avLst/>
          </a:prstGeom>
          <a:ln w="9525">
            <a:solidFill>
              <a:srgbClr val="0C2D83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 userDrawn="1"/>
        </p:nvCxnSpPr>
        <p:spPr>
          <a:xfrm>
            <a:off x="447559" y="6477000"/>
            <a:ext cx="11112780" cy="0"/>
          </a:xfrm>
          <a:prstGeom prst="line">
            <a:avLst/>
          </a:prstGeom>
          <a:ln w="9525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latin typeface="+mn-lt"/>
              <a:ea typeface="+mn-ea"/>
              <a:cs typeface="+mn-cs"/>
              <a:sym typeface="+mn-lt"/>
            </a:endParaRPr>
          </a:p>
        </p:txBody>
      </p:sp>
      <p:cxnSp>
        <p:nvCxnSpPr>
          <p:cNvPr id="26" name="Straight Connector 25"/>
          <p:cNvCxnSpPr/>
          <p:nvPr userDrawn="1"/>
        </p:nvCxnSpPr>
        <p:spPr>
          <a:xfrm>
            <a:off x="447558" y="533400"/>
            <a:ext cx="7497397" cy="0"/>
          </a:xfrm>
          <a:prstGeom prst="line">
            <a:avLst/>
          </a:prstGeom>
          <a:ln w="12700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 Placeholder 16"/>
          <p:cNvSpPr>
            <a:spLocks noGrp="1"/>
          </p:cNvSpPr>
          <p:nvPr>
            <p:ph type="body" sz="quarter" idx="11"/>
          </p:nvPr>
        </p:nvSpPr>
        <p:spPr>
          <a:xfrm>
            <a:off x="462564" y="304800"/>
            <a:ext cx="10003927" cy="228600"/>
          </a:xfrm>
        </p:spPr>
        <p:txBody>
          <a:bodyPr/>
          <a:lstStyle>
            <a:lvl1pPr>
              <a:defRPr kumimoji="0" lang="en-US" sz="1100" b="1" i="0" u="none" strike="noStrike" cap="none" spc="0" normalizeH="0" baseline="0" smtClean="0">
                <a:ln>
                  <a:noFill/>
                </a:ln>
                <a:solidFill>
                  <a:srgbClr val="00269E"/>
                </a:solidFill>
                <a:effectLst/>
                <a:uLnTx/>
                <a:uFillTx/>
                <a:latin typeface="+mn-lt"/>
                <a:cs typeface="Arial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20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2564" y="1219200"/>
            <a:ext cx="5459615" cy="5181600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100722" y="1219200"/>
            <a:ext cx="5459615" cy="5181600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692633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70330446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62565" y="606288"/>
            <a:ext cx="10114878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447559" y="533400"/>
            <a:ext cx="10018932" cy="0"/>
          </a:xfrm>
          <a:prstGeom prst="line">
            <a:avLst/>
          </a:prstGeom>
          <a:ln w="12700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>
            <a:off x="447559" y="1143000"/>
            <a:ext cx="11112780" cy="0"/>
          </a:xfrm>
          <a:prstGeom prst="line">
            <a:avLst/>
          </a:prstGeom>
          <a:ln w="9525">
            <a:solidFill>
              <a:srgbClr val="0C2D83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 userDrawn="1"/>
        </p:nvCxnSpPr>
        <p:spPr>
          <a:xfrm>
            <a:off x="447559" y="6477000"/>
            <a:ext cx="11112780" cy="0"/>
          </a:xfrm>
          <a:prstGeom prst="line">
            <a:avLst/>
          </a:prstGeom>
          <a:ln w="9525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latin typeface="+mn-lt"/>
              <a:ea typeface="+mn-ea"/>
              <a:cs typeface="+mn-cs"/>
              <a:sym typeface="+mn-lt"/>
            </a:endParaRPr>
          </a:p>
        </p:txBody>
      </p:sp>
      <p:cxnSp>
        <p:nvCxnSpPr>
          <p:cNvPr id="26" name="Straight Connector 25"/>
          <p:cNvCxnSpPr/>
          <p:nvPr userDrawn="1"/>
        </p:nvCxnSpPr>
        <p:spPr>
          <a:xfrm>
            <a:off x="447558" y="533400"/>
            <a:ext cx="7497397" cy="0"/>
          </a:xfrm>
          <a:prstGeom prst="line">
            <a:avLst/>
          </a:prstGeom>
          <a:ln w="12700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 Placeholder 16"/>
          <p:cNvSpPr>
            <a:spLocks noGrp="1"/>
          </p:cNvSpPr>
          <p:nvPr>
            <p:ph type="body" sz="quarter" idx="11"/>
          </p:nvPr>
        </p:nvSpPr>
        <p:spPr>
          <a:xfrm>
            <a:off x="462564" y="304800"/>
            <a:ext cx="10003927" cy="228600"/>
          </a:xfrm>
        </p:spPr>
        <p:txBody>
          <a:bodyPr/>
          <a:lstStyle>
            <a:lvl1pPr>
              <a:defRPr kumimoji="0" lang="en-US" sz="1100" b="1" i="0" u="none" strike="noStrike" cap="none" spc="0" normalizeH="0" baseline="0" smtClean="0">
                <a:ln>
                  <a:noFill/>
                </a:ln>
                <a:solidFill>
                  <a:srgbClr val="00269E"/>
                </a:solidFill>
                <a:effectLst/>
                <a:uLnTx/>
                <a:uFillTx/>
                <a:latin typeface="+mn-lt"/>
                <a:cs typeface="Arial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  <a:tabLst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57312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30409635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47559" y="2085629"/>
            <a:ext cx="11112780" cy="40891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  <a:sym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47559" y="533400"/>
            <a:ext cx="10018932" cy="0"/>
          </a:xfrm>
          <a:prstGeom prst="line">
            <a:avLst/>
          </a:prstGeom>
          <a:ln w="12700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>
          <a:xfrm>
            <a:off x="447559" y="1143000"/>
            <a:ext cx="11112780" cy="0"/>
          </a:xfrm>
          <a:prstGeom prst="line">
            <a:avLst/>
          </a:prstGeom>
          <a:ln w="9525">
            <a:solidFill>
              <a:srgbClr val="0C2D83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>
          <a:xfrm>
            <a:off x="447559" y="6477000"/>
            <a:ext cx="11112780" cy="0"/>
          </a:xfrm>
          <a:prstGeom prst="line">
            <a:avLst/>
          </a:prstGeom>
          <a:ln w="9525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Title 4"/>
          <p:cNvSpPr>
            <a:spLocks noGrp="1"/>
          </p:cNvSpPr>
          <p:nvPr>
            <p:ph type="title" hasCustomPrompt="1"/>
          </p:nvPr>
        </p:nvSpPr>
        <p:spPr>
          <a:xfrm>
            <a:off x="462565" y="606288"/>
            <a:ext cx="10114878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447559" y="533400"/>
            <a:ext cx="10018932" cy="0"/>
          </a:xfrm>
          <a:prstGeom prst="line">
            <a:avLst/>
          </a:prstGeom>
          <a:ln w="12700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>
            <a:off x="447558" y="533400"/>
            <a:ext cx="7497397" cy="0"/>
          </a:xfrm>
          <a:prstGeom prst="line">
            <a:avLst/>
          </a:prstGeom>
          <a:ln w="12700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16"/>
          <p:cNvSpPr>
            <a:spLocks noGrp="1"/>
          </p:cNvSpPr>
          <p:nvPr>
            <p:ph type="body" sz="quarter" idx="11"/>
          </p:nvPr>
        </p:nvSpPr>
        <p:spPr>
          <a:xfrm>
            <a:off x="462564" y="304800"/>
            <a:ext cx="10003927" cy="228600"/>
          </a:xfrm>
        </p:spPr>
        <p:txBody>
          <a:bodyPr/>
          <a:lstStyle>
            <a:lvl1pPr>
              <a:defRPr kumimoji="0" lang="en-US" sz="1100" b="1" i="0" u="none" strike="noStrike" cap="none" spc="0" normalizeH="0" baseline="0" smtClean="0">
                <a:ln>
                  <a:noFill/>
                </a:ln>
                <a:solidFill>
                  <a:srgbClr val="00269E"/>
                </a:solidFill>
                <a:effectLst/>
                <a:uLnTx/>
                <a:uFillTx/>
                <a:latin typeface="+mn-lt"/>
                <a:cs typeface="Arial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  <a:tabLst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30003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01391410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 bwMode="ltGray">
          <a:xfrm>
            <a:off x="1" y="-1309"/>
            <a:ext cx="4693178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462564" y="1544274"/>
            <a:ext cx="3451501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7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052710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73024711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408" y="2668041"/>
            <a:ext cx="9617986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914126" rtl="0" eaLnBrk="1" fontAlgn="auto" latinLnBrk="0" hangingPunct="1">
              <a:lnSpc>
                <a:spcPts val="5998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409" y="1428131"/>
            <a:ext cx="947425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712323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5389674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29836" y="3826800"/>
            <a:ext cx="10933952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737" y="3680016"/>
            <a:ext cx="11573289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405058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76E03F-4E65-4016-87BB-3A712B41FC4A}" type="datetime1">
              <a:rPr lang="en-US" smtClean="0"/>
              <a:t>4/1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RAFT FOR POLICY AND PROGRAM DEVELOPMEN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239AC-B64B-47D9-9A99-24B0D39D1C1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390284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9921052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3936" y="0"/>
            <a:ext cx="416842" cy="6858000"/>
          </a:xfrm>
          <a:prstGeom prst="rect">
            <a:avLst/>
          </a:prstGeom>
        </p:spPr>
      </p:pic>
      <p:sp>
        <p:nvSpPr>
          <p:cNvPr id="25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844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462565" y="2681103"/>
            <a:ext cx="3127066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3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884277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91047289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3741" y="0"/>
            <a:ext cx="416842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008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462564" y="622800"/>
            <a:ext cx="6255171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9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592263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18685952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0113" y="0"/>
            <a:ext cx="416842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462565" y="2681103"/>
            <a:ext cx="3127066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79701" y="-1309"/>
            <a:ext cx="8109125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5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651496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93700386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8101" y="0"/>
            <a:ext cx="416842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4412" y="0"/>
            <a:ext cx="6094413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0435" y="0"/>
            <a:ext cx="6098388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462565" y="1785600"/>
            <a:ext cx="4387257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3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923524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8172975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7920" y="0"/>
            <a:ext cx="416842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7507" y="0"/>
            <a:ext cx="437131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17989" y="0"/>
            <a:ext cx="4370836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3761" y="3916408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462565" y="1804650"/>
            <a:ext cx="624592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22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632809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31036876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1524" y="1310"/>
            <a:ext cx="4087247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462564" y="2764204"/>
            <a:ext cx="2477993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aseline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1626" y="3590399"/>
            <a:ext cx="1364894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167257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left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45169496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6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0" y="0"/>
            <a:ext cx="4087247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0055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62564" y="2764204"/>
            <a:ext cx="2477993" cy="1314311"/>
          </a:xfr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076" y="3402829"/>
            <a:ext cx="2693964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20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679174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row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6083243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0" name="think-cell Slide" r:id="rId5" imgW="324" imgH="324" progId="TCLayout.ActiveDocument.1">
                  <p:embed/>
                </p:oleObj>
              </mc:Choice>
              <mc:Fallback>
                <p:oleObj name="think-cell Slide" r:id="rId5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5507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62565" y="1785600"/>
            <a:ext cx="4061177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1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0332" y="3394393"/>
            <a:ext cx="1298237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009208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arrow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6879523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4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5507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62565" y="1785600"/>
            <a:ext cx="4061177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1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7127" y="3416300"/>
            <a:ext cx="2693964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pic>
        <p:nvPicPr>
          <p:cNvPr id="20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9741921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row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00540254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8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1889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462564" y="622800"/>
            <a:ext cx="4672429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6401" y="3589606"/>
            <a:ext cx="1364894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692871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2833" y="4406901"/>
            <a:ext cx="10360501" cy="1362075"/>
          </a:xfrm>
        </p:spPr>
        <p:txBody>
          <a:bodyPr anchor="t"/>
          <a:lstStyle>
            <a:lvl1pPr algn="l">
              <a:defRPr sz="53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2833" y="2906713"/>
            <a:ext cx="10360501" cy="1500187"/>
          </a:xfrm>
        </p:spPr>
        <p:txBody>
          <a:bodyPr anchor="b"/>
          <a:lstStyle>
            <a:lvl1pPr marL="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1pPr>
            <a:lvl2pPr marL="609493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898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3pPr>
            <a:lvl4pPr marL="1828480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4pPr>
            <a:lvl5pPr marL="243797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5pPr>
            <a:lvl6pPr marL="3047467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6pPr>
            <a:lvl7pPr marL="3656960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7pPr>
            <a:lvl8pPr marL="426645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8pPr>
            <a:lvl9pPr marL="4875947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DD9D6E-A079-4E9D-A04E-9522526BE291}" type="datetime1">
              <a:rPr lang="en-US" smtClean="0"/>
              <a:t>4/1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RAFT FOR POLICY AND PROGRAM DEVELOPMEN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239AC-B64B-47D9-9A99-24B0D39D1C1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451618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arrow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09967411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2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1889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462564" y="622800"/>
            <a:ext cx="4672429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59011" y="3407804"/>
            <a:ext cx="2693964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pic>
        <p:nvPicPr>
          <p:cNvPr id="18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438078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row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2106717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6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1" y="0"/>
            <a:ext cx="84440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462564" y="622800"/>
            <a:ext cx="6255171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88389" y="3589606"/>
            <a:ext cx="1364894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8002801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arrow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43584624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0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1" y="0"/>
            <a:ext cx="84440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462564" y="622800"/>
            <a:ext cx="6255171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5918" y="3407804"/>
            <a:ext cx="2693964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pic>
        <p:nvPicPr>
          <p:cNvPr id="16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369865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43226721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4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29836" y="3826333"/>
            <a:ext cx="10930353" cy="1606550"/>
          </a:xfrm>
        </p:spPr>
        <p:txBody>
          <a:bodyPr anchor="b">
            <a:noAutofit/>
          </a:bodyPr>
          <a:lstStyle>
            <a:lvl1pPr marL="0" algn="l" defTabSz="914126" rtl="0" eaLnBrk="1" fontAlgn="auto" latinLnBrk="0" hangingPunct="1">
              <a:lnSpc>
                <a:spcPts val="5998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pic>
        <p:nvPicPr>
          <p:cNvPr id="14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70558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71194629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8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29836" y="625475"/>
            <a:ext cx="932445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29836" y="3826333"/>
            <a:ext cx="10930353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126" rtl="0" eaLnBrk="1" fontAlgn="auto" latinLnBrk="0" hangingPunct="1">
              <a:lnSpc>
                <a:spcPts val="5998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pic>
        <p:nvPicPr>
          <p:cNvPr id="14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379662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30270833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2"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5591" y="102748"/>
            <a:ext cx="769257" cy="10017212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1"/>
            <a:ext cx="12188825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1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202179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ecial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7998083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6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462564" y="535714"/>
            <a:ext cx="9836654" cy="470898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3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830073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31594448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0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11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014252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93705403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4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13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902310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11670942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698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15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8249069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441" y="1200151"/>
            <a:ext cx="5383398" cy="3394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1800"/>
            </a:lvl3pPr>
            <a:lvl4pPr>
              <a:defRPr sz="1600"/>
            </a:lvl4pPr>
            <a:lvl5pPr>
              <a:defRPr sz="12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5986" y="1200151"/>
            <a:ext cx="5383398" cy="3394075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1800"/>
            </a:lvl3pPr>
            <a:lvl4pPr>
              <a:defRPr sz="1600"/>
            </a:lvl4pPr>
            <a:lvl5pPr>
              <a:defRPr sz="12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844537-4084-4F54-B6B7-37717E8465FB}" type="datetime1">
              <a:rPr lang="en-US" smtClean="0"/>
              <a:t>4/1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RAFT FOR POLICY AND PROGRAM DEVELOPMENT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239AC-B64B-47D9-9A99-24B0D39D1C1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865832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6716532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2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 dirty="0">
              <a:solidFill>
                <a:srgbClr val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0" name="Picture 447" descr="Boston, Massachusetts, USA"/>
          <p:cNvPicPr>
            <a:picLocks noChangeAspect="1" noChangeArrowheads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06" t="9629" r="366" b="7252"/>
          <a:stretch/>
        </p:blipFill>
        <p:spPr bwMode="auto">
          <a:xfrm>
            <a:off x="0" y="-76198"/>
            <a:ext cx="12188825" cy="69341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 11"/>
          <p:cNvSpPr/>
          <p:nvPr userDrawn="1"/>
        </p:nvSpPr>
        <p:spPr>
          <a:xfrm>
            <a:off x="3199567" y="6461829"/>
            <a:ext cx="578969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3" name="TextBox 2"/>
          <p:cNvSpPr txBox="1"/>
          <p:nvPr userDrawn="1"/>
        </p:nvSpPr>
        <p:spPr>
          <a:xfrm>
            <a:off x="228540" y="533400"/>
            <a:ext cx="7940618" cy="4431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>
              <a:lnSpc>
                <a:spcPct val="90000"/>
              </a:lnSpc>
              <a:spcBef>
                <a:spcPts val="600"/>
              </a:spcBef>
              <a:buNone/>
              <a:defRPr sz="32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+mj-lt"/>
              </a:defRPr>
            </a:lvl1pPr>
          </a:lstStyle>
          <a:p>
            <a:pPr lvl="0"/>
            <a:r>
              <a:rPr lang="en-PH" dirty="0"/>
              <a:t>Thank yo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1247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7888646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46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9" name="Group 48"/>
          <p:cNvGrpSpPr/>
          <p:nvPr userDrawn="1"/>
        </p:nvGrpSpPr>
        <p:grpSpPr>
          <a:xfrm>
            <a:off x="-600" y="-1"/>
            <a:ext cx="12190625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1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</p:grpSp>
      <p:sp>
        <p:nvSpPr>
          <p:cNvPr id="56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695993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89443688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0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447" descr="Boston, Massachusetts, USA"/>
          <p:cNvPicPr>
            <a:picLocks noChangeAspect="1" noChangeArrowheads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06" t="9629" r="366" b="7252"/>
          <a:stretch/>
        </p:blipFill>
        <p:spPr bwMode="auto">
          <a:xfrm>
            <a:off x="0" y="-76198"/>
            <a:ext cx="12188825" cy="69341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28541" y="1614340"/>
            <a:ext cx="2471093" cy="281103"/>
          </a:xfrm>
        </p:spPr>
        <p:txBody>
          <a:bodyPr wrap="square">
            <a:spAutoFit/>
          </a:bodyPr>
          <a:lstStyle>
            <a:lvl1pPr>
              <a:defRPr lang="en-US" sz="18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1800" smtClean="0"/>
            </a:lvl2pPr>
            <a:lvl3pPr>
              <a:defRPr lang="en-US" sz="1800" smtClean="0"/>
            </a:lvl3pPr>
            <a:lvl4pPr>
              <a:defRPr lang="en-US" sz="1800" smtClean="0">
                <a:solidFill>
                  <a:schemeClr val="tx1"/>
                </a:solidFill>
              </a:defRPr>
            </a:lvl4pPr>
            <a:lvl5pPr>
              <a:defRPr lang="en-US" sz="1800"/>
            </a:lvl5pPr>
          </a:lstStyle>
          <a:p>
            <a:pPr lvl="0" defTabSz="914126"/>
            <a:r>
              <a:rPr lang="en-US"/>
              <a:t>Click to add date</a:t>
            </a:r>
          </a:p>
        </p:txBody>
      </p:sp>
      <p:sp>
        <p:nvSpPr>
          <p:cNvPr id="19" name="Rectangle 18"/>
          <p:cNvSpPr/>
          <p:nvPr userDrawn="1"/>
        </p:nvSpPr>
        <p:spPr>
          <a:xfrm>
            <a:off x="3199567" y="6461829"/>
            <a:ext cx="578969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3" name="Title 2"/>
          <p:cNvSpPr>
            <a:spLocks noGrp="1"/>
          </p:cNvSpPr>
          <p:nvPr>
            <p:ph type="title" hasCustomPrompt="1"/>
          </p:nvPr>
        </p:nvSpPr>
        <p:spPr>
          <a:xfrm>
            <a:off x="228540" y="533400"/>
            <a:ext cx="7940618" cy="443198"/>
          </a:xfrm>
        </p:spPr>
        <p:txBody>
          <a:bodyPr wrap="square">
            <a:spAutoFit/>
          </a:bodyPr>
          <a:lstStyle>
            <a:lvl1pPr>
              <a:defRPr lang="en-US" sz="3200" b="1" baseline="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defTabSz="914126">
              <a:spcBef>
                <a:spcPts val="600"/>
              </a:spcBef>
            </a:pPr>
            <a:r>
              <a:rPr lang="en-US"/>
              <a:t>Click to add titl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4923673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4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47559" y="672002"/>
            <a:ext cx="10018932" cy="332399"/>
          </a:xfr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3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latin typeface="+mn-lt"/>
              <a:ea typeface="+mn-ea"/>
              <a:cs typeface="+mn-cs"/>
              <a:sym typeface="+mn-lt"/>
            </a:endParaRPr>
          </a:p>
        </p:txBody>
      </p:sp>
      <p:cxnSp>
        <p:nvCxnSpPr>
          <p:cNvPr id="21" name="Straight Connector 20"/>
          <p:cNvCxnSpPr/>
          <p:nvPr userDrawn="1"/>
        </p:nvCxnSpPr>
        <p:spPr>
          <a:xfrm>
            <a:off x="447559" y="533400"/>
            <a:ext cx="10018932" cy="0"/>
          </a:xfrm>
          <a:prstGeom prst="line">
            <a:avLst/>
          </a:prstGeom>
          <a:ln w="12700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>
            <a:off x="447559" y="1143000"/>
            <a:ext cx="11112780" cy="0"/>
          </a:xfrm>
          <a:prstGeom prst="line">
            <a:avLst/>
          </a:prstGeom>
          <a:ln w="9525">
            <a:solidFill>
              <a:srgbClr val="0C2D83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>
            <a:off x="447559" y="6477000"/>
            <a:ext cx="11112780" cy="0"/>
          </a:xfrm>
          <a:prstGeom prst="line">
            <a:avLst/>
          </a:prstGeom>
          <a:ln w="9525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 userDrawn="1"/>
        </p:nvCxnSpPr>
        <p:spPr>
          <a:xfrm>
            <a:off x="447559" y="533400"/>
            <a:ext cx="10018932" cy="0"/>
          </a:xfrm>
          <a:prstGeom prst="line">
            <a:avLst/>
          </a:prstGeom>
          <a:ln w="12700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 userDrawn="1"/>
        </p:nvCxnSpPr>
        <p:spPr>
          <a:xfrm>
            <a:off x="447558" y="533400"/>
            <a:ext cx="7497397" cy="0"/>
          </a:xfrm>
          <a:prstGeom prst="line">
            <a:avLst/>
          </a:prstGeom>
          <a:ln w="12700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16"/>
          <p:cNvSpPr>
            <a:spLocks noGrp="1"/>
          </p:cNvSpPr>
          <p:nvPr>
            <p:ph type="body" sz="quarter" idx="11"/>
          </p:nvPr>
        </p:nvSpPr>
        <p:spPr>
          <a:xfrm>
            <a:off x="462564" y="304800"/>
            <a:ext cx="10003927" cy="228600"/>
          </a:xfrm>
        </p:spPr>
        <p:txBody>
          <a:bodyPr/>
          <a:lstStyle>
            <a:lvl1pPr>
              <a:defRPr kumimoji="0" lang="en-US" sz="1100" b="1" i="0" u="none" strike="noStrike" cap="none" spc="0" normalizeH="0" baseline="0" smtClean="0">
                <a:ln>
                  <a:noFill/>
                </a:ln>
                <a:solidFill>
                  <a:srgbClr val="00269E"/>
                </a:solidFill>
                <a:effectLst/>
                <a:uLnTx/>
                <a:uFillTx/>
                <a:latin typeface="+mn-lt"/>
                <a:cs typeface="Arial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  <a:tabLst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20698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 userDrawn="1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71689847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18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7559" y="672002"/>
            <a:ext cx="10018932" cy="332399"/>
          </a:xfr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47559" y="2085628"/>
            <a:ext cx="11112780" cy="407297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10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latin typeface="+mn-lt"/>
              <a:ea typeface="+mn-ea"/>
              <a:cs typeface="+mn-cs"/>
              <a:sym typeface="+mn-lt"/>
            </a:endParaRP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447559" y="533400"/>
            <a:ext cx="10018932" cy="0"/>
          </a:xfrm>
          <a:prstGeom prst="line">
            <a:avLst/>
          </a:prstGeom>
          <a:ln w="12700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447559" y="1143000"/>
            <a:ext cx="11112780" cy="0"/>
          </a:xfrm>
          <a:prstGeom prst="line">
            <a:avLst/>
          </a:prstGeom>
          <a:ln w="9525">
            <a:solidFill>
              <a:srgbClr val="0C2D83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>
            <a:off x="447559" y="6477000"/>
            <a:ext cx="11112780" cy="0"/>
          </a:xfrm>
          <a:prstGeom prst="line">
            <a:avLst/>
          </a:prstGeom>
          <a:ln w="9525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>
            <a:off x="447559" y="533400"/>
            <a:ext cx="10018932" cy="0"/>
          </a:xfrm>
          <a:prstGeom prst="line">
            <a:avLst/>
          </a:prstGeom>
          <a:ln w="12700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 userDrawn="1"/>
        </p:nvCxnSpPr>
        <p:spPr>
          <a:xfrm>
            <a:off x="447558" y="533400"/>
            <a:ext cx="7497397" cy="0"/>
          </a:xfrm>
          <a:prstGeom prst="line">
            <a:avLst/>
          </a:prstGeom>
          <a:ln w="12700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16"/>
          <p:cNvSpPr>
            <a:spLocks noGrp="1"/>
          </p:cNvSpPr>
          <p:nvPr>
            <p:ph type="body" sz="quarter" idx="11"/>
          </p:nvPr>
        </p:nvSpPr>
        <p:spPr>
          <a:xfrm>
            <a:off x="462564" y="304800"/>
            <a:ext cx="10003927" cy="228600"/>
          </a:xfrm>
        </p:spPr>
        <p:txBody>
          <a:bodyPr/>
          <a:lstStyle>
            <a:lvl1pPr>
              <a:defRPr kumimoji="0" lang="en-US" sz="1100" b="1" i="0" u="none" strike="noStrike" cap="none" spc="0" normalizeH="0" baseline="0" smtClean="0">
                <a:ln>
                  <a:noFill/>
                </a:ln>
                <a:solidFill>
                  <a:srgbClr val="00269E"/>
                </a:solidFill>
                <a:effectLst/>
                <a:uLnTx/>
                <a:uFillTx/>
                <a:latin typeface="+mn-lt"/>
                <a:cs typeface="Arial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  <a:tabLst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4340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92175785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2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3178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462565" y="2158988"/>
            <a:ext cx="3743025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57063" indent="0" algn="ctr">
              <a:buNone/>
              <a:defRPr sz="2000"/>
            </a:lvl2pPr>
            <a:lvl3pPr marL="914126" indent="0" algn="ctr">
              <a:buNone/>
              <a:defRPr sz="1800"/>
            </a:lvl3pPr>
            <a:lvl4pPr marL="1371189" indent="0" algn="ctr">
              <a:buNone/>
              <a:defRPr sz="1600"/>
            </a:lvl4pPr>
            <a:lvl5pPr marL="1828251" indent="0" algn="ctr">
              <a:buNone/>
              <a:defRPr sz="1600"/>
            </a:lvl5pPr>
            <a:lvl6pPr marL="2285314" indent="0" algn="ctr">
              <a:buNone/>
              <a:defRPr sz="1600"/>
            </a:lvl6pPr>
            <a:lvl7pPr marL="2742377" indent="0" algn="ctr">
              <a:buNone/>
              <a:defRPr sz="1600"/>
            </a:lvl7pPr>
            <a:lvl8pPr marL="3199440" indent="0" algn="ctr">
              <a:buNone/>
              <a:defRPr sz="1600"/>
            </a:lvl8pPr>
            <a:lvl9pPr marL="3656503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462565" y="1227049"/>
            <a:ext cx="3743025" cy="664797"/>
          </a:xfrm>
        </p:spPr>
        <p:txBody>
          <a:bodyPr anchor="t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900753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39" userDrawn="1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4875658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66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408" y="2668041"/>
            <a:ext cx="9617986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914126" rtl="0" eaLnBrk="1" fontAlgn="auto" latinLnBrk="0" hangingPunct="1">
              <a:lnSpc>
                <a:spcPts val="5998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360" y="1424082"/>
            <a:ext cx="951473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6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819904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13474695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0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29836" y="3826800"/>
            <a:ext cx="10933952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29836" y="3680016"/>
            <a:ext cx="11555577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580523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White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35990102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14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3936" y="0"/>
            <a:ext cx="416842" cy="6858000"/>
          </a:xfrm>
          <a:prstGeom prst="rect">
            <a:avLst/>
          </a:prstGeom>
        </p:spPr>
      </p:pic>
      <p:sp>
        <p:nvSpPr>
          <p:cNvPr id="22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844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462565" y="2681103"/>
            <a:ext cx="3127066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522366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een 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1766034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38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3741" y="0"/>
            <a:ext cx="416842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008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2565" y="622801"/>
            <a:ext cx="6274894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6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482945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441" y="1535113"/>
            <a:ext cx="5385514" cy="639763"/>
          </a:xfrm>
        </p:spPr>
        <p:txBody>
          <a:bodyPr anchor="b">
            <a:normAutofit/>
          </a:bodyPr>
          <a:lstStyle>
            <a:lvl1pPr marL="0" indent="0">
              <a:buNone/>
              <a:defRPr sz="2800" b="1"/>
            </a:lvl1pPr>
            <a:lvl2pPr marL="609493" indent="0">
              <a:buNone/>
              <a:defRPr sz="2700" b="1"/>
            </a:lvl2pPr>
            <a:lvl3pPr marL="1218987" indent="0">
              <a:buNone/>
              <a:defRPr sz="2400" b="1"/>
            </a:lvl3pPr>
            <a:lvl4pPr marL="1828480" indent="0">
              <a:buNone/>
              <a:defRPr sz="2100" b="1"/>
            </a:lvl4pPr>
            <a:lvl5pPr marL="2437973" indent="0">
              <a:buNone/>
              <a:defRPr sz="2100" b="1"/>
            </a:lvl5pPr>
            <a:lvl6pPr marL="3047467" indent="0">
              <a:buNone/>
              <a:defRPr sz="2100" b="1"/>
            </a:lvl6pPr>
            <a:lvl7pPr marL="3656960" indent="0">
              <a:buNone/>
              <a:defRPr sz="2100" b="1"/>
            </a:lvl7pPr>
            <a:lvl8pPr marL="4266453" indent="0">
              <a:buNone/>
              <a:defRPr sz="2100" b="1"/>
            </a:lvl8pPr>
            <a:lvl9pPr marL="4875947" indent="0">
              <a:buNone/>
              <a:defRPr sz="21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2174875"/>
            <a:ext cx="5385514" cy="3951288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1800"/>
            </a:lvl3pPr>
            <a:lvl4pPr>
              <a:defRPr sz="1600"/>
            </a:lvl4pPr>
            <a:lvl5pPr>
              <a:defRPr sz="12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1756" y="1535113"/>
            <a:ext cx="5387630" cy="639763"/>
          </a:xfrm>
        </p:spPr>
        <p:txBody>
          <a:bodyPr anchor="b">
            <a:normAutofit/>
          </a:bodyPr>
          <a:lstStyle>
            <a:lvl1pPr marL="0" indent="0">
              <a:buNone/>
              <a:defRPr sz="2800" b="1"/>
            </a:lvl1pPr>
            <a:lvl2pPr marL="609493" indent="0">
              <a:buNone/>
              <a:defRPr sz="2700" b="1"/>
            </a:lvl2pPr>
            <a:lvl3pPr marL="1218987" indent="0">
              <a:buNone/>
              <a:defRPr sz="2400" b="1"/>
            </a:lvl3pPr>
            <a:lvl4pPr marL="1828480" indent="0">
              <a:buNone/>
              <a:defRPr sz="2100" b="1"/>
            </a:lvl4pPr>
            <a:lvl5pPr marL="2437973" indent="0">
              <a:buNone/>
              <a:defRPr sz="2100" b="1"/>
            </a:lvl5pPr>
            <a:lvl6pPr marL="3047467" indent="0">
              <a:buNone/>
              <a:defRPr sz="2100" b="1"/>
            </a:lvl6pPr>
            <a:lvl7pPr marL="3656960" indent="0">
              <a:buNone/>
              <a:defRPr sz="2100" b="1"/>
            </a:lvl7pPr>
            <a:lvl8pPr marL="4266453" indent="0">
              <a:buNone/>
              <a:defRPr sz="2100" b="1"/>
            </a:lvl8pPr>
            <a:lvl9pPr marL="4875947" indent="0">
              <a:buNone/>
              <a:defRPr sz="21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1756" y="2174875"/>
            <a:ext cx="5387630" cy="3951288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1800"/>
            </a:lvl3pPr>
            <a:lvl4pPr>
              <a:defRPr sz="1600"/>
            </a:lvl4pPr>
            <a:lvl5pPr>
              <a:defRPr sz="12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DCE1DA-04C3-40F2-83BD-EF8F3FCDFE2C}" type="datetime1">
              <a:rPr lang="en-US" smtClean="0"/>
              <a:t>4/1/2022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RAFT FOR POLICY AND PROGRAM DEVELOPMENT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239AC-B64B-47D9-9A99-24B0D39D1C15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150813" y="76201"/>
            <a:ext cx="11428572" cy="76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0964816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Four column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79661312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2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6895" y="0"/>
            <a:ext cx="416842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1919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2565" y="622801"/>
            <a:ext cx="8099474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8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93922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een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82280711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86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0113" y="0"/>
            <a:ext cx="416842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462565" y="2681103"/>
            <a:ext cx="3127066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79701" y="-1309"/>
            <a:ext cx="8109125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15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0604520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een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61571397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10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8101" y="0"/>
            <a:ext cx="416842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4412" y="0"/>
            <a:ext cx="6094413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0435" y="0"/>
            <a:ext cx="6098388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462565" y="1785600"/>
            <a:ext cx="4387257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21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9301659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een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75622046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34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7920" y="0"/>
            <a:ext cx="416842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7507" y="0"/>
            <a:ext cx="437131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17989" y="0"/>
            <a:ext cx="4370836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462565" y="1785600"/>
            <a:ext cx="624592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20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290578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Left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39021289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58" name="think-cell Slide" r:id="rId5" imgW="324" imgH="324" progId="TCLayout.ActiveDocument.1">
                  <p:embed/>
                </p:oleObj>
              </mc:Choice>
              <mc:Fallback>
                <p:oleObj name="think-cell Slide" r:id="rId5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524" y="1310"/>
            <a:ext cx="4087247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462564" y="2764204"/>
            <a:ext cx="2477993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1626" y="3590399"/>
            <a:ext cx="1364894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94232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een left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65634818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82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524" y="1310"/>
            <a:ext cx="4087247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62564" y="2764204"/>
            <a:ext cx="2477993" cy="1314311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076" y="3402829"/>
            <a:ext cx="2693964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pic>
        <p:nvPicPr>
          <p:cNvPr id="14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9979161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Arrow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7971252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06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5507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462565" y="1785600"/>
            <a:ext cx="4061177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1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0332" y="3394393"/>
            <a:ext cx="1298237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037699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een arrow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47856718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30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5507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462565" y="1785600"/>
            <a:ext cx="4061177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1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7127" y="3416300"/>
            <a:ext cx="2693964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pic>
        <p:nvPicPr>
          <p:cNvPr id="18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589356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Arrow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81562687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54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0" y="0"/>
            <a:ext cx="6361889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62564" y="622801"/>
            <a:ext cx="4746586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6401" y="3589606"/>
            <a:ext cx="1364894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569809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een arrow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5799397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78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0" y="0"/>
            <a:ext cx="6361889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62564" y="622801"/>
            <a:ext cx="4746586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59011" y="3407804"/>
            <a:ext cx="2693964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pic>
        <p:nvPicPr>
          <p:cNvPr id="18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969027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EC0874-97F8-4ECC-A4D3-AE3F79FF2CF7}" type="datetime1">
              <a:rPr lang="en-US" smtClean="0"/>
              <a:t>4/1/20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RAFT FOR POLICY AND PROGRAM DEVELOPMEN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239AC-B64B-47D9-9A99-24B0D39D1C1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459190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Arrow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87885322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02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1" y="0"/>
            <a:ext cx="84440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2565" y="622801"/>
            <a:ext cx="6252867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88389" y="3589606"/>
            <a:ext cx="1364894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25683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een arrow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68924705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26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1" y="0"/>
            <a:ext cx="84440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2565" y="622801"/>
            <a:ext cx="6252867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5918" y="3407804"/>
            <a:ext cx="2693964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pic>
        <p:nvPicPr>
          <p:cNvPr id="15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984939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39016255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50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29836" y="3826333"/>
            <a:ext cx="10930353" cy="1606550"/>
          </a:xfrm>
        </p:spPr>
        <p:txBody>
          <a:bodyPr anchor="b">
            <a:noAutofit/>
          </a:bodyPr>
          <a:lstStyle>
            <a:lvl1pPr marL="0" algn="l" defTabSz="914126" rtl="0" eaLnBrk="1" fontAlgn="auto" latinLnBrk="0" hangingPunct="1">
              <a:lnSpc>
                <a:spcPts val="5998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pic>
        <p:nvPicPr>
          <p:cNvPr id="15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585075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5526653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74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29836" y="625475"/>
            <a:ext cx="932445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29836" y="3826333"/>
            <a:ext cx="10930353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126" rtl="0" eaLnBrk="1" fontAlgn="auto" latinLnBrk="0" hangingPunct="1">
              <a:lnSpc>
                <a:spcPts val="5998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pic>
        <p:nvPicPr>
          <p:cNvPr id="14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936192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74345171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298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5591" y="102748"/>
            <a:ext cx="769257" cy="10017212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1"/>
            <a:ext cx="12188825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1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41941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pecial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64400781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22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2565" y="622801"/>
            <a:ext cx="9964180" cy="3323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3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548375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84363989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46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7247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7247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29836" y="2548118"/>
            <a:ext cx="3066558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b="1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7829" y="3586748"/>
            <a:ext cx="1364894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023909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88753074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70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13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6408276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27253546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394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11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571185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0025999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18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15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413221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D2A094-00D9-4134-8C3E-74B4AAE1CF17}" type="datetime1">
              <a:rPr lang="en-US" smtClean="0"/>
              <a:t>4/1/2022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RAFT FOR POLICY AND PROGRAM DEVELOPMEN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239AC-B64B-47D9-9A99-24B0D39D1C1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926868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2029467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42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447" descr="Boston, Massachusetts, USA"/>
          <p:cNvPicPr>
            <a:picLocks noChangeAspect="1" noChangeArrowheads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06" t="9629" r="366" b="7252"/>
          <a:stretch/>
        </p:blipFill>
        <p:spPr bwMode="auto">
          <a:xfrm>
            <a:off x="0" y="-76198"/>
            <a:ext cx="12188825" cy="69341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/>
          <p:cNvSpPr/>
          <p:nvPr userDrawn="1"/>
        </p:nvSpPr>
        <p:spPr>
          <a:xfrm>
            <a:off x="3199567" y="6461829"/>
            <a:ext cx="578969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228540" y="533400"/>
            <a:ext cx="7940618" cy="4431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>
              <a:lnSpc>
                <a:spcPct val="90000"/>
              </a:lnSpc>
              <a:spcBef>
                <a:spcPts val="600"/>
              </a:spcBef>
              <a:buNone/>
              <a:defRPr sz="32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+mj-lt"/>
              </a:defRPr>
            </a:lvl1pPr>
          </a:lstStyle>
          <a:p>
            <a:pPr lvl="0"/>
            <a:r>
              <a:rPr lang="en-PH" dirty="0"/>
              <a:t>Thank yo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1621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2140786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66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4" name="Group 143"/>
          <p:cNvGrpSpPr/>
          <p:nvPr userDrawn="1"/>
        </p:nvGrpSpPr>
        <p:grpSpPr>
          <a:xfrm>
            <a:off x="-600" y="-1"/>
            <a:ext cx="12190625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1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</p:grpSp>
      <p:sp>
        <p:nvSpPr>
          <p:cNvPr id="56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818754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ection Header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06816161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49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7784" y="4691187"/>
            <a:ext cx="929095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Rectangle 11"/>
          <p:cNvSpPr/>
          <p:nvPr userDrawn="1">
            <p:custDataLst>
              <p:tags r:id="rId3"/>
            </p:custDataLst>
          </p:nvPr>
        </p:nvSpPr>
        <p:spPr>
          <a:xfrm>
            <a:off x="2508829" y="4691187"/>
            <a:ext cx="1569743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32" tIns="179953" rIns="182832" bIns="18283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29836" y="907198"/>
            <a:ext cx="3447902" cy="344728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1841" tIns="467878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068794" y="1115416"/>
            <a:ext cx="2569265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pic>
        <p:nvPicPr>
          <p:cNvPr id="16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5703140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14907509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1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409" y="1428131"/>
            <a:ext cx="947425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4865" y="2667600"/>
            <a:ext cx="9616695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4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2928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Full Width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16761981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3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29836" y="622800"/>
            <a:ext cx="7188126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737" y="1206000"/>
            <a:ext cx="11573289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216077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Two-Thir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05766962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6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0113" y="0"/>
            <a:ext cx="416842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79701" y="-1309"/>
            <a:ext cx="8109125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629836" y="3207715"/>
            <a:ext cx="1546740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pic>
        <p:nvPicPr>
          <p:cNvPr id="18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270190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60610128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58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387784" y="4691187"/>
            <a:ext cx="929095" cy="995874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2508829" y="4691187"/>
            <a:ext cx="1569743" cy="1468176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32" tIns="179953" rIns="182832" bIns="18283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29836" y="907199"/>
            <a:ext cx="3447902" cy="1220467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lIns="611841" tIns="467878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chemeClr val="accent4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068794" y="1115416"/>
            <a:ext cx="2569265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dirty="0"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pic>
        <p:nvPicPr>
          <p:cNvPr id="15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8655767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80127697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1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284409" y="1428131"/>
            <a:ext cx="947425" cy="947672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4865" y="2667600"/>
            <a:ext cx="9616695" cy="32004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1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206140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3594638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3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629836" y="622800"/>
            <a:ext cx="7188126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accent4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737" y="1206000"/>
            <a:ext cx="11573289" cy="0"/>
          </a:xfrm>
          <a:prstGeom prst="line">
            <a:avLst/>
          </a:prstGeom>
          <a:ln w="9525" cmpd="sng">
            <a:solidFill>
              <a:schemeClr val="accent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704339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D. Two-Thir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57525460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5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0113" y="0"/>
            <a:ext cx="416842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79701" y="-1309"/>
            <a:ext cx="8109125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629836" y="3262146"/>
            <a:ext cx="1160745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pic>
        <p:nvPicPr>
          <p:cNvPr id="14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7847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3" y="273049"/>
            <a:ext cx="4010039" cy="1162051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5492" y="273052"/>
            <a:ext cx="6813892" cy="5853113"/>
          </a:xfrm>
        </p:spPr>
        <p:txBody>
          <a:bodyPr/>
          <a:lstStyle>
            <a:lvl1pPr>
              <a:defRPr sz="4300"/>
            </a:lvl1pPr>
            <a:lvl2pPr>
              <a:defRPr sz="3700"/>
            </a:lvl2pPr>
            <a:lvl3pPr>
              <a:defRPr sz="3200"/>
            </a:lvl3pPr>
            <a:lvl4pPr>
              <a:defRPr sz="2700"/>
            </a:lvl4pPr>
            <a:lvl5pPr>
              <a:defRPr sz="2700"/>
            </a:lvl5pPr>
            <a:lvl6pPr>
              <a:defRPr sz="2700"/>
            </a:lvl6pPr>
            <a:lvl7pPr>
              <a:defRPr sz="2700"/>
            </a:lvl7pPr>
            <a:lvl8pPr>
              <a:defRPr sz="2700"/>
            </a:lvl8pPr>
            <a:lvl9pPr>
              <a:defRPr sz="27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443" y="1435102"/>
            <a:ext cx="4010039" cy="4691063"/>
          </a:xfrm>
        </p:spPr>
        <p:txBody>
          <a:bodyPr/>
          <a:lstStyle>
            <a:lvl1pPr marL="0" indent="0">
              <a:buNone/>
              <a:defRPr sz="1900"/>
            </a:lvl1pPr>
            <a:lvl2pPr marL="609493" indent="0">
              <a:buNone/>
              <a:defRPr sz="1600"/>
            </a:lvl2pPr>
            <a:lvl3pPr marL="1218987" indent="0">
              <a:buNone/>
              <a:defRPr sz="1300"/>
            </a:lvl3pPr>
            <a:lvl4pPr marL="1828480" indent="0">
              <a:buNone/>
              <a:defRPr sz="1200"/>
            </a:lvl4pPr>
            <a:lvl5pPr marL="2437973" indent="0">
              <a:buNone/>
              <a:defRPr sz="1200"/>
            </a:lvl5pPr>
            <a:lvl6pPr marL="3047467" indent="0">
              <a:buNone/>
              <a:defRPr sz="1200"/>
            </a:lvl6pPr>
            <a:lvl7pPr marL="3656960" indent="0">
              <a:buNone/>
              <a:defRPr sz="1200"/>
            </a:lvl7pPr>
            <a:lvl8pPr marL="4266453" indent="0">
              <a:buNone/>
              <a:defRPr sz="1200"/>
            </a:lvl8pPr>
            <a:lvl9pPr marL="4875947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1D740A-1F50-49AB-8424-6D8B05DF0C8F}" type="datetime1">
              <a:rPr lang="en-US" smtClean="0"/>
              <a:t>4/1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RAFT FOR POLICY AND PROGRAM DEVELOPMENT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239AC-B64B-47D9-9A99-24B0D39D1C1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5944487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D. 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17651387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8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7247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7247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29836" y="2577934"/>
            <a:ext cx="2818666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7829" y="3586748"/>
            <a:ext cx="1364894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933657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441" y="1422601"/>
            <a:ext cx="11173090" cy="4221163"/>
          </a:xfrm>
        </p:spPr>
        <p:txBody>
          <a:bodyPr/>
          <a:lstStyle>
            <a:lvl1pPr>
              <a:buClr>
                <a:schemeClr val="tx1"/>
              </a:buClr>
              <a:defRPr>
                <a:latin typeface="Calibri" panose="020F0502020204030204" pitchFamily="34" charset="0"/>
              </a:defRPr>
            </a:lvl1pPr>
            <a:lvl2pPr marL="576090" indent="-233293">
              <a:buClr>
                <a:schemeClr val="tx1"/>
              </a:buClr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914126" indent="-223771">
              <a:buClr>
                <a:schemeClr val="tx1"/>
              </a:buClr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3pPr>
            <a:lvl4pPr marL="1261684" indent="-233293">
              <a:buClr>
                <a:schemeClr val="tx1"/>
              </a:buClr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599720" indent="-223771">
              <a:buClr>
                <a:schemeClr val="tx1"/>
              </a:buClr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9611398" y="6594479"/>
            <a:ext cx="2577429" cy="2635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35CC764F-34DD-40DB-B424-6CB46B067597}" type="slidenum">
              <a:rPr lang="en-US" altLang="en-US"/>
              <a:pPr/>
              <a:t>‹#›</a:t>
            </a:fld>
            <a:endParaRPr lang="en-US" altLang="en-US" dirty="0"/>
          </a:p>
        </p:txBody>
      </p:sp>
      <p:sp>
        <p:nvSpPr>
          <p:cNvPr id="6" name="Rectangle 15"/>
          <p:cNvSpPr>
            <a:spLocks noGrp="1" noChangeArrowheads="1"/>
          </p:cNvSpPr>
          <p:nvPr>
            <p:ph type="title"/>
          </p:nvPr>
        </p:nvSpPr>
        <p:spPr bwMode="auto">
          <a:xfrm>
            <a:off x="552307" y="824631"/>
            <a:ext cx="10309714" cy="4247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9744809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095" y="4800600"/>
            <a:ext cx="7313295" cy="566739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095" y="612775"/>
            <a:ext cx="7313295" cy="4114800"/>
          </a:xfrm>
        </p:spPr>
        <p:txBody>
          <a:bodyPr/>
          <a:lstStyle>
            <a:lvl1pPr marL="0" indent="0">
              <a:buNone/>
              <a:defRPr sz="4300"/>
            </a:lvl1pPr>
            <a:lvl2pPr marL="609493" indent="0">
              <a:buNone/>
              <a:defRPr sz="3700"/>
            </a:lvl2pPr>
            <a:lvl3pPr marL="1218987" indent="0">
              <a:buNone/>
              <a:defRPr sz="3200"/>
            </a:lvl3pPr>
            <a:lvl4pPr marL="1828480" indent="0">
              <a:buNone/>
              <a:defRPr sz="2700"/>
            </a:lvl4pPr>
            <a:lvl5pPr marL="2437973" indent="0">
              <a:buNone/>
              <a:defRPr sz="2700"/>
            </a:lvl5pPr>
            <a:lvl6pPr marL="3047467" indent="0">
              <a:buNone/>
              <a:defRPr sz="2700"/>
            </a:lvl6pPr>
            <a:lvl7pPr marL="3656960" indent="0">
              <a:buNone/>
              <a:defRPr sz="2700"/>
            </a:lvl7pPr>
            <a:lvl8pPr marL="4266453" indent="0">
              <a:buNone/>
              <a:defRPr sz="2700"/>
            </a:lvl8pPr>
            <a:lvl9pPr marL="4875947" indent="0">
              <a:buNone/>
              <a:defRPr sz="27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095" y="5367338"/>
            <a:ext cx="7313295" cy="804863"/>
          </a:xfrm>
        </p:spPr>
        <p:txBody>
          <a:bodyPr/>
          <a:lstStyle>
            <a:lvl1pPr marL="0" indent="0">
              <a:buNone/>
              <a:defRPr sz="1900"/>
            </a:lvl1pPr>
            <a:lvl2pPr marL="609493" indent="0">
              <a:buNone/>
              <a:defRPr sz="1600"/>
            </a:lvl2pPr>
            <a:lvl3pPr marL="1218987" indent="0">
              <a:buNone/>
              <a:defRPr sz="1300"/>
            </a:lvl3pPr>
            <a:lvl4pPr marL="1828480" indent="0">
              <a:buNone/>
              <a:defRPr sz="1200"/>
            </a:lvl4pPr>
            <a:lvl5pPr marL="2437973" indent="0">
              <a:buNone/>
              <a:defRPr sz="1200"/>
            </a:lvl5pPr>
            <a:lvl6pPr marL="3047467" indent="0">
              <a:buNone/>
              <a:defRPr sz="1200"/>
            </a:lvl6pPr>
            <a:lvl7pPr marL="3656960" indent="0">
              <a:buNone/>
              <a:defRPr sz="1200"/>
            </a:lvl7pPr>
            <a:lvl8pPr marL="4266453" indent="0">
              <a:buNone/>
              <a:defRPr sz="1200"/>
            </a:lvl8pPr>
            <a:lvl9pPr marL="4875947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B725EF-CAF2-4517-B02B-12755CFD32B1}" type="datetime1">
              <a:rPr lang="en-US" smtClean="0"/>
              <a:t>4/1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RAFT FOR POLICY AND PROGRAM DEVELOPMENT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239AC-B64B-47D9-9A99-24B0D39D1C1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777681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slideLayout" Target="../slideLayouts/slideLayout37.xml"/><Relationship Id="rId39" Type="http://schemas.openxmlformats.org/officeDocument/2006/relationships/slideLayout" Target="../slideLayouts/slideLayout50.xml"/><Relationship Id="rId21" Type="http://schemas.openxmlformats.org/officeDocument/2006/relationships/slideLayout" Target="../slideLayouts/slideLayout32.xml"/><Relationship Id="rId34" Type="http://schemas.openxmlformats.org/officeDocument/2006/relationships/slideLayout" Target="../slideLayouts/slideLayout45.xml"/><Relationship Id="rId42" Type="http://schemas.openxmlformats.org/officeDocument/2006/relationships/slideLayout" Target="../slideLayouts/slideLayout53.xml"/><Relationship Id="rId47" Type="http://schemas.openxmlformats.org/officeDocument/2006/relationships/slideLayout" Target="../slideLayouts/slideLayout58.xml"/><Relationship Id="rId50" Type="http://schemas.openxmlformats.org/officeDocument/2006/relationships/slideLayout" Target="../slideLayouts/slideLayout61.xml"/><Relationship Id="rId55" Type="http://schemas.openxmlformats.org/officeDocument/2006/relationships/slideLayout" Target="../slideLayouts/slideLayout66.xml"/><Relationship Id="rId63" Type="http://schemas.openxmlformats.org/officeDocument/2006/relationships/slideLayout" Target="../slideLayouts/slideLayout74.xml"/><Relationship Id="rId68" Type="http://schemas.openxmlformats.org/officeDocument/2006/relationships/slideLayout" Target="../slideLayouts/slideLayout79.xml"/><Relationship Id="rId76" Type="http://schemas.openxmlformats.org/officeDocument/2006/relationships/oleObject" Target="../embeddings/oleObject1.bin"/><Relationship Id="rId7" Type="http://schemas.openxmlformats.org/officeDocument/2006/relationships/slideLayout" Target="../slideLayouts/slideLayout18.xml"/><Relationship Id="rId71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9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32" Type="http://schemas.openxmlformats.org/officeDocument/2006/relationships/slideLayout" Target="../slideLayouts/slideLayout43.xml"/><Relationship Id="rId37" Type="http://schemas.openxmlformats.org/officeDocument/2006/relationships/slideLayout" Target="../slideLayouts/slideLayout48.xml"/><Relationship Id="rId40" Type="http://schemas.openxmlformats.org/officeDocument/2006/relationships/slideLayout" Target="../slideLayouts/slideLayout51.xml"/><Relationship Id="rId45" Type="http://schemas.openxmlformats.org/officeDocument/2006/relationships/slideLayout" Target="../slideLayouts/slideLayout56.xml"/><Relationship Id="rId53" Type="http://schemas.openxmlformats.org/officeDocument/2006/relationships/slideLayout" Target="../slideLayouts/slideLayout64.xml"/><Relationship Id="rId58" Type="http://schemas.openxmlformats.org/officeDocument/2006/relationships/slideLayout" Target="../slideLayouts/slideLayout69.xml"/><Relationship Id="rId66" Type="http://schemas.openxmlformats.org/officeDocument/2006/relationships/slideLayout" Target="../slideLayouts/slideLayout77.xml"/><Relationship Id="rId74" Type="http://schemas.openxmlformats.org/officeDocument/2006/relationships/tags" Target="../tags/tag2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slideLayout" Target="../slideLayouts/slideLayout39.xml"/><Relationship Id="rId36" Type="http://schemas.openxmlformats.org/officeDocument/2006/relationships/slideLayout" Target="../slideLayouts/slideLayout47.xml"/><Relationship Id="rId49" Type="http://schemas.openxmlformats.org/officeDocument/2006/relationships/slideLayout" Target="../slideLayouts/slideLayout60.xml"/><Relationship Id="rId57" Type="http://schemas.openxmlformats.org/officeDocument/2006/relationships/slideLayout" Target="../slideLayouts/slideLayout68.xml"/><Relationship Id="rId61" Type="http://schemas.openxmlformats.org/officeDocument/2006/relationships/slideLayout" Target="../slideLayouts/slideLayout72.xml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42.xml"/><Relationship Id="rId44" Type="http://schemas.openxmlformats.org/officeDocument/2006/relationships/slideLayout" Target="../slideLayouts/slideLayout55.xml"/><Relationship Id="rId52" Type="http://schemas.openxmlformats.org/officeDocument/2006/relationships/slideLayout" Target="../slideLayouts/slideLayout63.xml"/><Relationship Id="rId60" Type="http://schemas.openxmlformats.org/officeDocument/2006/relationships/slideLayout" Target="../slideLayouts/slideLayout71.xml"/><Relationship Id="rId65" Type="http://schemas.openxmlformats.org/officeDocument/2006/relationships/slideLayout" Target="../slideLayouts/slideLayout76.xml"/><Relationship Id="rId73" Type="http://schemas.openxmlformats.org/officeDocument/2006/relationships/tags" Target="../tags/tag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slideLayout" Target="../slideLayouts/slideLayout38.xml"/><Relationship Id="rId30" Type="http://schemas.openxmlformats.org/officeDocument/2006/relationships/slideLayout" Target="../slideLayouts/slideLayout41.xml"/><Relationship Id="rId35" Type="http://schemas.openxmlformats.org/officeDocument/2006/relationships/slideLayout" Target="../slideLayouts/slideLayout46.xml"/><Relationship Id="rId43" Type="http://schemas.openxmlformats.org/officeDocument/2006/relationships/slideLayout" Target="../slideLayouts/slideLayout54.xml"/><Relationship Id="rId48" Type="http://schemas.openxmlformats.org/officeDocument/2006/relationships/slideLayout" Target="../slideLayouts/slideLayout59.xml"/><Relationship Id="rId56" Type="http://schemas.openxmlformats.org/officeDocument/2006/relationships/slideLayout" Target="../slideLayouts/slideLayout67.xml"/><Relationship Id="rId64" Type="http://schemas.openxmlformats.org/officeDocument/2006/relationships/slideLayout" Target="../slideLayouts/slideLayout75.xml"/><Relationship Id="rId69" Type="http://schemas.openxmlformats.org/officeDocument/2006/relationships/slideLayout" Target="../slideLayouts/slideLayout80.xml"/><Relationship Id="rId77" Type="http://schemas.openxmlformats.org/officeDocument/2006/relationships/image" Target="../media/image2.emf"/><Relationship Id="rId8" Type="http://schemas.openxmlformats.org/officeDocument/2006/relationships/slideLayout" Target="../slideLayouts/slideLayout19.xml"/><Relationship Id="rId51" Type="http://schemas.openxmlformats.org/officeDocument/2006/relationships/slideLayout" Target="../slideLayouts/slideLayout62.xml"/><Relationship Id="rId72" Type="http://schemas.openxmlformats.org/officeDocument/2006/relationships/vmlDrawing" Target="../drawings/vmlDrawing1.vml"/><Relationship Id="rId3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33" Type="http://schemas.openxmlformats.org/officeDocument/2006/relationships/slideLayout" Target="../slideLayouts/slideLayout44.xml"/><Relationship Id="rId38" Type="http://schemas.openxmlformats.org/officeDocument/2006/relationships/slideLayout" Target="../slideLayouts/slideLayout49.xml"/><Relationship Id="rId46" Type="http://schemas.openxmlformats.org/officeDocument/2006/relationships/slideLayout" Target="../slideLayouts/slideLayout57.xml"/><Relationship Id="rId59" Type="http://schemas.openxmlformats.org/officeDocument/2006/relationships/slideLayout" Target="../slideLayouts/slideLayout70.xml"/><Relationship Id="rId67" Type="http://schemas.openxmlformats.org/officeDocument/2006/relationships/slideLayout" Target="../slideLayouts/slideLayout78.xml"/><Relationship Id="rId20" Type="http://schemas.openxmlformats.org/officeDocument/2006/relationships/slideLayout" Target="../slideLayouts/slideLayout31.xml"/><Relationship Id="rId41" Type="http://schemas.openxmlformats.org/officeDocument/2006/relationships/slideLayout" Target="../slideLayouts/slideLayout52.xml"/><Relationship Id="rId54" Type="http://schemas.openxmlformats.org/officeDocument/2006/relationships/slideLayout" Target="../slideLayouts/slideLayout65.xml"/><Relationship Id="rId62" Type="http://schemas.openxmlformats.org/officeDocument/2006/relationships/slideLayout" Target="../slideLayouts/slideLayout73.xml"/><Relationship Id="rId70" Type="http://schemas.openxmlformats.org/officeDocument/2006/relationships/slideLayout" Target="../slideLayouts/slideLayout81.xml"/><Relationship Id="rId75" Type="http://schemas.openxmlformats.org/officeDocument/2006/relationships/image" Target="../media/image3.png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0"/>
            <a:ext cx="12188825" cy="91440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50813" y="76201"/>
            <a:ext cx="11428572" cy="762000"/>
          </a:xfrm>
          <a:prstGeom prst="rect">
            <a:avLst/>
          </a:prstGeom>
        </p:spPr>
        <p:txBody>
          <a:bodyPr vert="horz" lIns="121899" tIns="60949" rIns="121899" bIns="60949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50812" y="1219201"/>
            <a:ext cx="11810999" cy="4906964"/>
          </a:xfrm>
          <a:prstGeom prst="rect">
            <a:avLst/>
          </a:prstGeom>
        </p:spPr>
        <p:txBody>
          <a:bodyPr vert="horz" lIns="121899" tIns="60949" rIns="121899" bIns="60949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441" y="6518275"/>
            <a:ext cx="2844059" cy="365125"/>
          </a:xfrm>
          <a:prstGeom prst="rect">
            <a:avLst/>
          </a:prstGeom>
        </p:spPr>
        <p:txBody>
          <a:bodyPr vert="horz" lIns="121899" tIns="60949" rIns="121899" bIns="60949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  <a:latin typeface="Gill Sans MT" pitchFamily="34" charset="0"/>
              </a:defRPr>
            </a:lvl1pPr>
          </a:lstStyle>
          <a:p>
            <a:fld id="{716ABBC4-D7EF-478E-BA71-DED00E89BE50}" type="datetime1">
              <a:rPr lang="en-US" smtClean="0"/>
              <a:t>4/1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4515" y="6518275"/>
            <a:ext cx="3859795" cy="365125"/>
          </a:xfrm>
          <a:prstGeom prst="rect">
            <a:avLst/>
          </a:prstGeom>
        </p:spPr>
        <p:txBody>
          <a:bodyPr vert="horz" lIns="121899" tIns="60949" rIns="121899" bIns="60949" rtlCol="0" anchor="ctr"/>
          <a:lstStyle>
            <a:lvl1pPr algn="ctr">
              <a:defRPr sz="900">
                <a:solidFill>
                  <a:srgbClr val="FF0000"/>
                </a:solidFill>
                <a:latin typeface="Gill Sans MT" pitchFamily="34" charset="0"/>
              </a:defRPr>
            </a:lvl1pPr>
          </a:lstStyle>
          <a:p>
            <a:r>
              <a:rPr lang="en-US" dirty="0"/>
              <a:t>DRAFT FOR POLICY AND PROGRAM DEVELOPMEN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5325" y="6518275"/>
            <a:ext cx="2844059" cy="365125"/>
          </a:xfrm>
          <a:prstGeom prst="rect">
            <a:avLst/>
          </a:prstGeom>
        </p:spPr>
        <p:txBody>
          <a:bodyPr vert="horz" lIns="121899" tIns="60949" rIns="121899" bIns="60949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  <a:latin typeface="Gill Sans MT" pitchFamily="34" charset="0"/>
              </a:defRPr>
            </a:lvl1pPr>
          </a:lstStyle>
          <a:p>
            <a:fld id="{48F239AC-B64B-47D9-9A99-24B0D39D1C15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26" name="Picture 2" descr="Seal of Massachusetts - Wikipedia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52212" y="762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042300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89" r:id="rId1"/>
    <p:sldLayoutId id="2147485190" r:id="rId2"/>
    <p:sldLayoutId id="2147485191" r:id="rId3"/>
    <p:sldLayoutId id="2147485192" r:id="rId4"/>
    <p:sldLayoutId id="2147485193" r:id="rId5"/>
    <p:sldLayoutId id="2147485194" r:id="rId6"/>
    <p:sldLayoutId id="2147485195" r:id="rId7"/>
    <p:sldLayoutId id="2147485196" r:id="rId8"/>
    <p:sldLayoutId id="2147485197" r:id="rId9"/>
    <p:sldLayoutId id="2147485198" r:id="rId10"/>
    <p:sldLayoutId id="2147485199" r:id="rId11"/>
  </p:sldLayoutIdLst>
  <p:hf hdr="0"/>
  <p:txStyles>
    <p:titleStyle>
      <a:lvl1pPr algn="l" defTabSz="1218987" rtl="0" eaLnBrk="1" latinLnBrk="0" hangingPunct="1">
        <a:spcBef>
          <a:spcPct val="0"/>
        </a:spcBef>
        <a:buNone/>
        <a:defRPr sz="2800" kern="1200">
          <a:solidFill>
            <a:schemeClr val="bg1"/>
          </a:solidFill>
          <a:latin typeface="Gill Sans MT" pitchFamily="34" charset="0"/>
          <a:ea typeface="+mj-ea"/>
          <a:cs typeface="+mj-cs"/>
        </a:defRPr>
      </a:lvl1pPr>
    </p:titleStyle>
    <p:bodyStyle>
      <a:lvl1pPr marL="457120" indent="-457120" algn="l" defTabSz="1218987" rtl="0" eaLnBrk="1" latinLnBrk="0" hangingPunct="1">
        <a:spcBef>
          <a:spcPct val="20000"/>
        </a:spcBef>
        <a:buFont typeface="Arial" pitchFamily="34" charset="0"/>
        <a:buChar char="•"/>
        <a:defRPr sz="2800" kern="1200">
          <a:solidFill>
            <a:schemeClr val="tx1"/>
          </a:solidFill>
          <a:latin typeface="Gill Sans MT" pitchFamily="34" charset="0"/>
          <a:ea typeface="+mn-ea"/>
          <a:cs typeface="+mn-cs"/>
        </a:defRPr>
      </a:lvl1pPr>
      <a:lvl2pPr marL="990427" indent="-380933" algn="l" defTabSz="1218987" rtl="0" eaLnBrk="1" latinLnBrk="0" hangingPunct="1">
        <a:spcBef>
          <a:spcPct val="20000"/>
        </a:spcBef>
        <a:buFont typeface="Arial" pitchFamily="34" charset="0"/>
        <a:buChar char="–"/>
        <a:defRPr sz="2400" kern="1200">
          <a:solidFill>
            <a:schemeClr val="tx1"/>
          </a:solidFill>
          <a:latin typeface="Gill Sans MT" pitchFamily="34" charset="0"/>
          <a:ea typeface="+mn-ea"/>
          <a:cs typeface="+mn-cs"/>
        </a:defRPr>
      </a:lvl2pPr>
      <a:lvl3pPr marL="1523733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Gill Sans MT" pitchFamily="34" charset="0"/>
          <a:ea typeface="+mn-ea"/>
          <a:cs typeface="+mn-cs"/>
        </a:defRPr>
      </a:lvl3pPr>
      <a:lvl4pPr marL="2133227" indent="-304747" algn="l" defTabSz="1218987" rtl="0" eaLnBrk="1" latinLnBrk="0" hangingPunct="1">
        <a:spcBef>
          <a:spcPct val="20000"/>
        </a:spcBef>
        <a:buFont typeface="Arial" pitchFamily="34" charset="0"/>
        <a:buChar char="–"/>
        <a:defRPr sz="1600" kern="1200">
          <a:solidFill>
            <a:schemeClr val="tx1"/>
          </a:solidFill>
          <a:latin typeface="Gill Sans MT" pitchFamily="34" charset="0"/>
          <a:ea typeface="+mn-ea"/>
          <a:cs typeface="+mn-cs"/>
        </a:defRPr>
      </a:lvl4pPr>
      <a:lvl5pPr marL="2742720" indent="-304747" algn="l" defTabSz="1218987" rtl="0" eaLnBrk="1" latinLnBrk="0" hangingPunct="1">
        <a:spcBef>
          <a:spcPct val="20000"/>
        </a:spcBef>
        <a:buFont typeface="Arial" pitchFamily="34" charset="0"/>
        <a:buChar char="»"/>
        <a:defRPr sz="1200" kern="1200">
          <a:solidFill>
            <a:schemeClr val="tx1"/>
          </a:solidFill>
          <a:latin typeface="Gill Sans MT" pitchFamily="34" charset="0"/>
          <a:ea typeface="+mn-ea"/>
          <a:cs typeface="+mn-cs"/>
        </a:defRPr>
      </a:lvl5pPr>
      <a:lvl6pPr marL="3352213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1707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200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0693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49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98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48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97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46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696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45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594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7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3"/>
            </p:custDataLst>
            <p:extLst>
              <p:ext uri="{D42A27DB-BD31-4B8C-83A1-F6EECF244321}">
                <p14:modId xmlns:p14="http://schemas.microsoft.com/office/powerpoint/2010/main" val="3941305400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76" imgW="270" imgH="270" progId="TCLayout.ActiveDocument.1">
                  <p:embed/>
                </p:oleObj>
              </mc:Choice>
              <mc:Fallback>
                <p:oleObj name="think-cell Slide" r:id="rId7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7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74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29836" y="622801"/>
            <a:ext cx="10930503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29836" y="1825625"/>
            <a:ext cx="10930503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Level six</a:t>
            </a:r>
          </a:p>
          <a:p>
            <a:pPr lvl="6"/>
            <a:r>
              <a:rPr lang="en-US"/>
              <a:t>Level seven</a:t>
            </a:r>
          </a:p>
          <a:p>
            <a:pPr lvl="7"/>
            <a:r>
              <a:rPr lang="en-US"/>
              <a:t>Level eight</a:t>
            </a:r>
          </a:p>
          <a:p>
            <a:pPr lvl="8"/>
            <a:r>
              <a:rPr lang="en-US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8353363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15" r:id="rId1"/>
    <p:sldLayoutId id="2147485185" r:id="rId2"/>
    <p:sldLayoutId id="2147485186" r:id="rId3"/>
    <p:sldLayoutId id="2147485086" r:id="rId4"/>
    <p:sldLayoutId id="2147485183" r:id="rId5"/>
    <p:sldLayoutId id="2147485158" r:id="rId6"/>
    <p:sldLayoutId id="2147485113" r:id="rId7"/>
    <p:sldLayoutId id="2147485114" r:id="rId8"/>
    <p:sldLayoutId id="2147485154" r:id="rId9"/>
    <p:sldLayoutId id="2147485162" r:id="rId10"/>
    <p:sldLayoutId id="2147485149" r:id="rId11"/>
    <p:sldLayoutId id="2147485087" r:id="rId12"/>
    <p:sldLayoutId id="2147485112" r:id="rId13"/>
    <p:sldLayoutId id="2147485155" r:id="rId14"/>
    <p:sldLayoutId id="2147485164" r:id="rId15"/>
    <p:sldLayoutId id="2147485109" r:id="rId16"/>
    <p:sldLayoutId id="2147485165" r:id="rId17"/>
    <p:sldLayoutId id="2147485110" r:id="rId18"/>
    <p:sldLayoutId id="2147485166" r:id="rId19"/>
    <p:sldLayoutId id="2147485156" r:id="rId20"/>
    <p:sldLayoutId id="2147485167" r:id="rId21"/>
    <p:sldLayoutId id="2147485108" r:id="rId22"/>
    <p:sldLayoutId id="2147485107" r:id="rId23"/>
    <p:sldLayoutId id="2147485106" r:id="rId24"/>
    <p:sldLayoutId id="2147485090" r:id="rId25"/>
    <p:sldLayoutId id="2147485091" r:id="rId26"/>
    <p:sldLayoutId id="2147485092" r:id="rId27"/>
    <p:sldLayoutId id="2147485093" r:id="rId28"/>
    <p:sldLayoutId id="2147485116" r:id="rId29"/>
    <p:sldLayoutId id="2147485161" r:id="rId30"/>
    <p:sldLayoutId id="2147485159" r:id="rId31"/>
    <p:sldLayoutId id="2147485119" r:id="rId32"/>
    <p:sldLayoutId id="2147485184" r:id="rId33"/>
    <p:sldLayoutId id="2147485137" r:id="rId34"/>
    <p:sldLayoutId id="2147485120" r:id="rId35"/>
    <p:sldLayoutId id="2147485121" r:id="rId36"/>
    <p:sldLayoutId id="2147485141" r:id="rId37"/>
    <p:sldLayoutId id="2147485163" r:id="rId38"/>
    <p:sldLayoutId id="2147485139" r:id="rId39"/>
    <p:sldLayoutId id="2147485140" r:id="rId40"/>
    <p:sldLayoutId id="2147485122" r:id="rId41"/>
    <p:sldLayoutId id="2147485123" r:id="rId42"/>
    <p:sldLayoutId id="2147485151" r:id="rId43"/>
    <p:sldLayoutId id="2147485168" r:id="rId44"/>
    <p:sldLayoutId id="2147485127" r:id="rId45"/>
    <p:sldLayoutId id="2147485169" r:id="rId46"/>
    <p:sldLayoutId id="2147485126" r:id="rId47"/>
    <p:sldLayoutId id="2147485170" r:id="rId48"/>
    <p:sldLayoutId id="2147485153" r:id="rId49"/>
    <p:sldLayoutId id="2147485171" r:id="rId50"/>
    <p:sldLayoutId id="2147485128" r:id="rId51"/>
    <p:sldLayoutId id="2147485129" r:id="rId52"/>
    <p:sldLayoutId id="2147485130" r:id="rId53"/>
    <p:sldLayoutId id="2147485131" r:id="rId54"/>
    <p:sldLayoutId id="2147485145" r:id="rId55"/>
    <p:sldLayoutId id="2147485133" r:id="rId56"/>
    <p:sldLayoutId id="2147485144" r:id="rId57"/>
    <p:sldLayoutId id="2147485134" r:id="rId58"/>
    <p:sldLayoutId id="2147485146" r:id="rId59"/>
    <p:sldLayoutId id="2147485160" r:id="rId60"/>
    <p:sldLayoutId id="2147485172" r:id="rId61"/>
    <p:sldLayoutId id="2147485173" r:id="rId62"/>
    <p:sldLayoutId id="2147485174" r:id="rId63"/>
    <p:sldLayoutId id="2147485175" r:id="rId64"/>
    <p:sldLayoutId id="2147485176" r:id="rId65"/>
    <p:sldLayoutId id="2147485177" r:id="rId66"/>
    <p:sldLayoutId id="2147485178" r:id="rId67"/>
    <p:sldLayoutId id="2147485179" r:id="rId68"/>
    <p:sldLayoutId id="2147485180" r:id="rId69"/>
    <p:sldLayoutId id="2147485187" r:id="rId70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/>
  <p:txStyles>
    <p:titleStyle>
      <a:lvl1pPr algn="l" defTabSz="914126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  <a:sym typeface="+mj-lt"/>
        </a:defRPr>
      </a:lvl1pPr>
    </p:titleStyle>
    <p:bodyStyle>
      <a:lvl1pPr marL="0" indent="0" algn="l" defTabSz="914126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1pPr>
      <a:lvl2pPr marL="284315" indent="-172748" algn="l" defTabSz="914126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2pPr>
      <a:lvl3pPr marL="511047" indent="-165550" algn="l" defTabSz="914126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3pPr>
      <a:lvl4pPr marL="0" indent="0" algn="l" defTabSz="914126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+mn-lt"/>
          <a:ea typeface="+mn-ea"/>
          <a:cs typeface="+mn-cs"/>
          <a:sym typeface="+mn-lt"/>
        </a:defRPr>
      </a:lvl4pPr>
      <a:lvl5pPr marL="0" indent="0" algn="l" defTabSz="914126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5pPr>
      <a:lvl6pPr marL="269794" indent="-152354" algn="l" defTabSz="914126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6pPr>
      <a:lvl7pPr marL="0" indent="0" algn="l" defTabSz="914126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7pPr>
      <a:lvl8pPr marL="0" indent="0" algn="l" defTabSz="914126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+mn-lt"/>
        </a:defRPr>
      </a:lvl8pPr>
      <a:lvl9pPr marL="0" indent="0" algn="l" defTabSz="914126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+mn-lt"/>
        </a:defRPr>
      </a:lvl9pPr>
    </p:bodyStyle>
    <p:otherStyle>
      <a:defPPr>
        <a:defRPr lang="en-US"/>
      </a:defPPr>
      <a:lvl1pPr marL="0" algn="l" defTabSz="9141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9141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9141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9141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9141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 userDrawn="1">
          <p15:clr>
            <a:srgbClr val="F26B43"/>
          </p15:clr>
        </p15:guide>
        <p15:guide id="2" pos="396" userDrawn="1">
          <p15:clr>
            <a:srgbClr val="F26B43"/>
          </p15:clr>
        </p15:guide>
        <p15:guide id="3" pos="7282" userDrawn="1">
          <p15:clr>
            <a:srgbClr val="F26B43"/>
          </p15:clr>
        </p15:guide>
        <p15:guide id="4" orient="horz" pos="388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5.sv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>
            <a:extLst>
              <a:ext uri="{FF2B5EF4-FFF2-40B4-BE49-F238E27FC236}">
                <a16:creationId xmlns:a16="http://schemas.microsoft.com/office/drawing/2014/main" id="{6CBC5AFE-8080-439C-88F4-247DEEEAE2B4}"/>
              </a:ext>
            </a:extLst>
          </p:cNvPr>
          <p:cNvSpPr txBox="1">
            <a:spLocks/>
          </p:cNvSpPr>
          <p:nvPr/>
        </p:nvSpPr>
        <p:spPr>
          <a:xfrm>
            <a:off x="473162" y="2332235"/>
            <a:ext cx="11242500" cy="4040664"/>
          </a:xfrm>
          <a:prstGeom prst="rect">
            <a:avLst/>
          </a:prstGeom>
        </p:spPr>
        <p:txBody>
          <a:bodyPr vert="horz" lIns="121899" tIns="60949" rIns="121899" bIns="60949" rtlCol="0" anchor="ctr">
            <a:normAutofit/>
          </a:bodyPr>
          <a:lstStyle>
            <a:lvl1pPr algn="l" defTabSz="1218987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bg1"/>
                </a:solidFill>
                <a:latin typeface="Gill Sans MT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US" sz="3600" b="1" dirty="0">
                <a:solidFill>
                  <a:schemeClr val="tx1"/>
                </a:solidFill>
                <a:latin typeface="Gill Sans MT"/>
              </a:rPr>
              <a:t>Justice Reinvestment Policy Oversight Board</a:t>
            </a:r>
          </a:p>
          <a:p>
            <a:pPr algn="ctr"/>
            <a:endParaRPr lang="en-US" sz="1800" dirty="0">
              <a:solidFill>
                <a:schemeClr val="tx1"/>
              </a:solidFill>
              <a:latin typeface="Gill Sans MT"/>
            </a:endParaRPr>
          </a:p>
          <a:p>
            <a:pPr algn="ctr"/>
            <a:r>
              <a:rPr lang="en-US" sz="3600" i="1" dirty="0">
                <a:solidFill>
                  <a:schemeClr val="tx1"/>
                </a:solidFill>
                <a:latin typeface="Gill Sans MT"/>
              </a:rPr>
              <a:t>Cross-Tracking Initiative Update</a:t>
            </a:r>
          </a:p>
          <a:p>
            <a:pPr algn="ctr"/>
            <a:endParaRPr lang="en-US" sz="5200" dirty="0">
              <a:solidFill>
                <a:schemeClr val="tx1"/>
              </a:solidFill>
              <a:latin typeface="Gill Sans MT"/>
            </a:endParaRPr>
          </a:p>
          <a:p>
            <a:pPr algn="ctr"/>
            <a:r>
              <a:rPr lang="en-US" sz="3200" dirty="0">
                <a:solidFill>
                  <a:schemeClr val="tx1"/>
                </a:solidFill>
                <a:latin typeface="Gill Sans MT"/>
              </a:rPr>
              <a:t>04/04/22</a:t>
            </a:r>
            <a:endParaRPr lang="en-US" sz="5200" dirty="0">
              <a:solidFill>
                <a:schemeClr val="tx1"/>
              </a:solidFill>
            </a:endParaRPr>
          </a:p>
          <a:p>
            <a:pPr algn="ctr"/>
            <a:endParaRPr lang="en-US" sz="2600" dirty="0">
              <a:solidFill>
                <a:srgbClr val="FF0000"/>
              </a:solidFill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D96B0D-377C-438A-B9A9-26A8913C9BF6}" type="datetime1">
              <a:rPr lang="en-US" smtClean="0"/>
              <a:t>4/1/2022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RAFT FOR POLICY AND PROGRAM DEVELOPMEN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8120A43-DD36-4BC4-8864-7EEDB52E55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239AC-B64B-47D9-9A99-24B0D39D1C15}" type="slidenum">
              <a:rPr lang="en-US" smtClean="0"/>
              <a:t>1</a:t>
            </a:fld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33E7E51-10C8-42EF-A2FD-F69FB450DC79}"/>
              </a:ext>
            </a:extLst>
          </p:cNvPr>
          <p:cNvSpPr/>
          <p:nvPr/>
        </p:nvSpPr>
        <p:spPr>
          <a:xfrm>
            <a:off x="5794624" y="102743"/>
            <a:ext cx="5650787" cy="75222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bg1"/>
                </a:solidFill>
                <a:latin typeface="Gill Sans MT" panose="020B0502020104020203" pitchFamily="34" charset="0"/>
              </a:rPr>
              <a:t>Executive Office of Public Safety and Security</a:t>
            </a:r>
          </a:p>
          <a:p>
            <a:r>
              <a:rPr lang="en-US" sz="2000" dirty="0">
                <a:solidFill>
                  <a:schemeClr val="bg1"/>
                </a:solidFill>
                <a:latin typeface="Gill Sans MT" panose="020B0502020104020203" pitchFamily="34" charset="0"/>
              </a:rPr>
              <a:t>Executive Office of Technology Services and Security</a:t>
            </a:r>
          </a:p>
        </p:txBody>
      </p:sp>
    </p:spTree>
    <p:extLst>
      <p:ext uri="{BB962C8B-B14F-4D97-AF65-F5344CB8AC3E}">
        <p14:creationId xmlns:p14="http://schemas.microsoft.com/office/powerpoint/2010/main" val="192271558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tangle 43">
            <a:extLst>
              <a:ext uri="{FF2B5EF4-FFF2-40B4-BE49-F238E27FC236}">
                <a16:creationId xmlns:a16="http://schemas.microsoft.com/office/drawing/2014/main" id="{57BB7E40-A467-4930-9CA3-FC702DA0647C}"/>
              </a:ext>
            </a:extLst>
          </p:cNvPr>
          <p:cNvSpPr/>
          <p:nvPr/>
        </p:nvSpPr>
        <p:spPr>
          <a:xfrm>
            <a:off x="-17785" y="-6668"/>
            <a:ext cx="12206610" cy="686466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CCED1C0-4608-413E-B871-3D0453A55A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EC0874-97F8-4ECC-A4D3-AE3F79FF2CF7}" type="datetime1">
              <a:rPr lang="en-US" smtClean="0"/>
              <a:t>4/1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FA40F7D-1B48-4BBA-8252-05465CC96A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RAFT FOR POLICY AND PROGRAM DEVELOPMEN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0356613-D6D1-484F-9BD3-75A29AB9EE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239AC-B64B-47D9-9A99-24B0D39D1C15}" type="slidenum">
              <a:rPr lang="en-US" smtClean="0"/>
              <a:t>2</a:t>
            </a:fld>
            <a:endParaRPr lang="en-US" dirty="0"/>
          </a:p>
        </p:txBody>
      </p:sp>
      <p:sp>
        <p:nvSpPr>
          <p:cNvPr id="15" name="Google Shape;380;p6">
            <a:extLst>
              <a:ext uri="{FF2B5EF4-FFF2-40B4-BE49-F238E27FC236}">
                <a16:creationId xmlns:a16="http://schemas.microsoft.com/office/drawing/2014/main" id="{8A0A29CA-F5E7-442A-869C-85BCF44063C1}"/>
              </a:ext>
            </a:extLst>
          </p:cNvPr>
          <p:cNvSpPr/>
          <p:nvPr/>
        </p:nvSpPr>
        <p:spPr>
          <a:xfrm rot="10800000">
            <a:off x="945269" y="3491095"/>
            <a:ext cx="10326255" cy="210029"/>
          </a:xfrm>
          <a:prstGeom prst="triangle">
            <a:avLst>
              <a:gd name="adj" fmla="val 50000"/>
            </a:avLst>
          </a:pr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dirty="0">
              <a:solidFill>
                <a:schemeClr val="lt1"/>
              </a:solidFill>
              <a:latin typeface="Gill Sans MT" panose="020B0502020104020203" pitchFamily="34" charset="0"/>
              <a:ea typeface="Arial"/>
              <a:cs typeface="Arial"/>
              <a:sym typeface="Arial"/>
            </a:endParaRPr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37985CCD-9413-479A-86E4-9F7BE0AE15A1}"/>
              </a:ext>
            </a:extLst>
          </p:cNvPr>
          <p:cNvGrpSpPr/>
          <p:nvPr/>
        </p:nvGrpSpPr>
        <p:grpSpPr>
          <a:xfrm>
            <a:off x="0" y="56045"/>
            <a:ext cx="12192000" cy="1073989"/>
            <a:chOff x="0" y="84038"/>
            <a:chExt cx="12192000" cy="1073989"/>
          </a:xfrm>
        </p:grpSpPr>
        <p:cxnSp>
          <p:nvCxnSpPr>
            <p:cNvPr id="16" name="Google Shape;378;p6">
              <a:extLst>
                <a:ext uri="{FF2B5EF4-FFF2-40B4-BE49-F238E27FC236}">
                  <a16:creationId xmlns:a16="http://schemas.microsoft.com/office/drawing/2014/main" id="{F110F8A3-4501-472D-AD68-BACB91CD37B3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349475"/>
              <a:ext cx="12192000" cy="0"/>
            </a:xfrm>
            <a:prstGeom prst="straightConnector1">
              <a:avLst/>
            </a:prstGeom>
            <a:noFill/>
            <a:ln w="19050" cap="flat" cmpd="sng">
              <a:solidFill>
                <a:srgbClr val="D3D3D3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sp>
          <p:nvSpPr>
            <p:cNvPr id="17" name="Google Shape;379;p6">
              <a:extLst>
                <a:ext uri="{FF2B5EF4-FFF2-40B4-BE49-F238E27FC236}">
                  <a16:creationId xmlns:a16="http://schemas.microsoft.com/office/drawing/2014/main" id="{0F14D400-C6A1-447E-83DC-8B655A69CFF5}"/>
                </a:ext>
              </a:extLst>
            </p:cNvPr>
            <p:cNvSpPr txBox="1"/>
            <p:nvPr/>
          </p:nvSpPr>
          <p:spPr>
            <a:xfrm>
              <a:off x="4494212" y="84038"/>
              <a:ext cx="3200400" cy="530874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0" tIns="45700" rIns="91425" bIns="45700" anchor="t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800" b="1" dirty="0">
                  <a:solidFill>
                    <a:srgbClr val="002856"/>
                  </a:solidFill>
                  <a:latin typeface="Gill Sans MT" panose="020B0502020104020203" pitchFamily="34" charset="0"/>
                  <a:ea typeface="Arial Black"/>
                  <a:cs typeface="Arial Black"/>
                  <a:sym typeface="Arial Black"/>
                </a:rPr>
                <a:t>Commonwealth Direction</a:t>
              </a:r>
              <a:endParaRPr lang="en-US" sz="2800" dirty="0">
                <a:solidFill>
                  <a:srgbClr val="002856"/>
                </a:solidFill>
                <a:latin typeface="Gill Sans MT" panose="020B0502020104020203" pitchFamily="34" charset="0"/>
              </a:endParaRPr>
            </a:p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050" b="1" i="1" dirty="0">
                  <a:solidFill>
                    <a:srgbClr val="002856"/>
                  </a:solidFill>
                  <a:latin typeface="Gill Sans MT" panose="020B0502020104020203" pitchFamily="34" charset="0"/>
                  <a:ea typeface="Arial"/>
                  <a:cs typeface="Arial"/>
                  <a:sym typeface="Arial"/>
                </a:rPr>
                <a:t>(What we will accomplish)</a:t>
              </a:r>
              <a:endParaRPr lang="en-US" sz="2800" dirty="0">
                <a:solidFill>
                  <a:srgbClr val="002856"/>
                </a:solidFill>
                <a:latin typeface="Gill Sans MT" panose="020B0502020104020203" pitchFamily="34" charset="0"/>
              </a:endParaRPr>
            </a:p>
          </p:txBody>
        </p:sp>
        <p:sp>
          <p:nvSpPr>
            <p:cNvPr id="18" name="Google Shape;385;p6">
              <a:extLst>
                <a:ext uri="{FF2B5EF4-FFF2-40B4-BE49-F238E27FC236}">
                  <a16:creationId xmlns:a16="http://schemas.microsoft.com/office/drawing/2014/main" id="{0E50B980-92FC-4742-BF17-479C6B07E04A}"/>
                </a:ext>
              </a:extLst>
            </p:cNvPr>
            <p:cNvSpPr/>
            <p:nvPr/>
          </p:nvSpPr>
          <p:spPr>
            <a:xfrm>
              <a:off x="847498" y="511737"/>
              <a:ext cx="10493829" cy="64629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45700" rIns="0" bIns="45700" anchor="t" anchorCtr="0">
              <a:spAutoFit/>
            </a:bodyPr>
            <a:lstStyle/>
            <a:p>
              <a:pPr lvl="0" algn="ctr"/>
              <a:r>
                <a:rPr lang="en-US" sz="1800" b="1" i="1" dirty="0">
                  <a:solidFill>
                    <a:srgbClr val="002856"/>
                  </a:solidFill>
                  <a:latin typeface="Gill Sans MT" panose="020B0502020104020203" pitchFamily="34" charset="0"/>
                  <a:ea typeface="Arial"/>
                  <a:cs typeface="Arial"/>
                  <a:sym typeface="Arial"/>
                </a:rPr>
                <a:t>We will improve the criminal justice system by enhancing the integrity, accuracy, consistency, and transparency of information.</a:t>
              </a:r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10C33072-E1E6-4E80-87AA-49FB21D08879}"/>
              </a:ext>
            </a:extLst>
          </p:cNvPr>
          <p:cNvGrpSpPr/>
          <p:nvPr/>
        </p:nvGrpSpPr>
        <p:grpSpPr>
          <a:xfrm>
            <a:off x="0" y="3789345"/>
            <a:ext cx="12192000" cy="1383365"/>
            <a:chOff x="0" y="3789345"/>
            <a:chExt cx="12192000" cy="1383365"/>
          </a:xfrm>
        </p:grpSpPr>
        <p:cxnSp>
          <p:nvCxnSpPr>
            <p:cNvPr id="9" name="Google Shape;381;p6">
              <a:extLst>
                <a:ext uri="{FF2B5EF4-FFF2-40B4-BE49-F238E27FC236}">
                  <a16:creationId xmlns:a16="http://schemas.microsoft.com/office/drawing/2014/main" id="{44852DD8-9436-485E-BF5B-99142951979F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4054782"/>
              <a:ext cx="12192000" cy="0"/>
            </a:xfrm>
            <a:prstGeom prst="straightConnector1">
              <a:avLst/>
            </a:prstGeom>
            <a:noFill/>
            <a:ln w="19050" cap="flat" cmpd="sng">
              <a:solidFill>
                <a:srgbClr val="D3D3D3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sp>
          <p:nvSpPr>
            <p:cNvPr id="10" name="Google Shape;382;p6">
              <a:extLst>
                <a:ext uri="{FF2B5EF4-FFF2-40B4-BE49-F238E27FC236}">
                  <a16:creationId xmlns:a16="http://schemas.microsoft.com/office/drawing/2014/main" id="{0A17F261-5737-4261-8E06-8EDAE1E350C0}"/>
                </a:ext>
              </a:extLst>
            </p:cNvPr>
            <p:cNvSpPr txBox="1"/>
            <p:nvPr/>
          </p:nvSpPr>
          <p:spPr>
            <a:xfrm>
              <a:off x="4631372" y="3789345"/>
              <a:ext cx="2926080" cy="530874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0" tIns="45700" rIns="91425" bIns="45700" anchor="t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800" b="1" dirty="0">
                  <a:solidFill>
                    <a:srgbClr val="6A80A3"/>
                  </a:solidFill>
                  <a:latin typeface="Gill Sans MT" panose="020B0502020104020203" pitchFamily="34" charset="0"/>
                  <a:ea typeface="Arial Black"/>
                  <a:cs typeface="Arial Black"/>
                  <a:sym typeface="Arial Black"/>
                </a:rPr>
                <a:t>Strategic Focus Areas</a:t>
              </a:r>
              <a:endParaRPr lang="en-US" sz="2800" dirty="0">
                <a:solidFill>
                  <a:srgbClr val="6A80A3"/>
                </a:solidFill>
                <a:latin typeface="Gill Sans MT" panose="020B0502020104020203" pitchFamily="34" charset="0"/>
              </a:endParaRPr>
            </a:p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050" b="1" i="1" dirty="0">
                  <a:solidFill>
                    <a:srgbClr val="6A80A3"/>
                  </a:solidFill>
                  <a:latin typeface="Gill Sans MT" panose="020B0502020104020203" pitchFamily="34" charset="0"/>
                  <a:ea typeface="Arial"/>
                  <a:cs typeface="Arial"/>
                  <a:sym typeface="Arial"/>
                </a:rPr>
                <a:t>(How we will get there)</a:t>
              </a:r>
              <a:endParaRPr lang="en-US" sz="1800" b="1" dirty="0">
                <a:solidFill>
                  <a:srgbClr val="6A80A3"/>
                </a:solidFill>
                <a:latin typeface="Gill Sans MT" panose="020B0502020104020203" pitchFamily="34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11" name="Google Shape;390;p6">
              <a:extLst>
                <a:ext uri="{FF2B5EF4-FFF2-40B4-BE49-F238E27FC236}">
                  <a16:creationId xmlns:a16="http://schemas.microsoft.com/office/drawing/2014/main" id="{7DC316BA-D0B0-4CB1-80A4-5AF4F09C86AC}"/>
                </a:ext>
              </a:extLst>
            </p:cNvPr>
            <p:cNvSpPr/>
            <p:nvPr/>
          </p:nvSpPr>
          <p:spPr>
            <a:xfrm>
              <a:off x="321110" y="4400475"/>
              <a:ext cx="2651962" cy="313553"/>
            </a:xfrm>
            <a:prstGeom prst="rect">
              <a:avLst/>
            </a:prstGeom>
            <a:solidFill>
              <a:srgbClr val="6A80A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lvl="0" algn="ctr"/>
              <a:r>
                <a:rPr lang="en-US" sz="1200" dirty="0">
                  <a:solidFill>
                    <a:srgbClr val="FFFFFF"/>
                  </a:solidFill>
                  <a:latin typeface="Gill Sans MT" panose="020B0502020104020203" pitchFamily="34" charset="0"/>
                  <a:ea typeface="Arial Black"/>
                  <a:cs typeface="Arial Black"/>
                  <a:sym typeface="Arial Black"/>
                </a:rPr>
                <a:t>Common Data Definitions</a:t>
              </a:r>
            </a:p>
          </p:txBody>
        </p:sp>
        <p:sp>
          <p:nvSpPr>
            <p:cNvPr id="12" name="Google Shape;391;p6">
              <a:extLst>
                <a:ext uri="{FF2B5EF4-FFF2-40B4-BE49-F238E27FC236}">
                  <a16:creationId xmlns:a16="http://schemas.microsoft.com/office/drawing/2014/main" id="{E7B94D45-67A5-4D5F-8CFF-3F2D83B32970}"/>
                </a:ext>
              </a:extLst>
            </p:cNvPr>
            <p:cNvSpPr/>
            <p:nvPr/>
          </p:nvSpPr>
          <p:spPr>
            <a:xfrm>
              <a:off x="3269515" y="4400475"/>
              <a:ext cx="2656076" cy="313553"/>
            </a:xfrm>
            <a:prstGeom prst="rect">
              <a:avLst/>
            </a:prstGeom>
            <a:solidFill>
              <a:srgbClr val="6A80A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lvl="0" algn="ctr"/>
              <a:r>
                <a:rPr lang="en-US" sz="1200" dirty="0">
                  <a:solidFill>
                    <a:srgbClr val="FFFFFF"/>
                  </a:solidFill>
                  <a:latin typeface="Gill Sans MT" panose="020B0502020104020203" pitchFamily="34" charset="0"/>
                  <a:ea typeface="Arial Black"/>
                  <a:cs typeface="Arial Black"/>
                  <a:sym typeface="Arial Black"/>
                </a:rPr>
                <a:t>Governance Framework</a:t>
              </a:r>
            </a:p>
          </p:txBody>
        </p:sp>
        <p:sp>
          <p:nvSpPr>
            <p:cNvPr id="13" name="Google Shape;392;p6">
              <a:extLst>
                <a:ext uri="{FF2B5EF4-FFF2-40B4-BE49-F238E27FC236}">
                  <a16:creationId xmlns:a16="http://schemas.microsoft.com/office/drawing/2014/main" id="{A66892C0-6130-4079-A522-21E805347E16}"/>
                </a:ext>
              </a:extLst>
            </p:cNvPr>
            <p:cNvSpPr/>
            <p:nvPr/>
          </p:nvSpPr>
          <p:spPr>
            <a:xfrm>
              <a:off x="6222034" y="4400475"/>
              <a:ext cx="2651963" cy="313553"/>
            </a:xfrm>
            <a:prstGeom prst="rect">
              <a:avLst/>
            </a:prstGeom>
            <a:solidFill>
              <a:srgbClr val="6A80A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lvl="0" algn="ctr"/>
              <a:r>
                <a:rPr lang="en-US" sz="1200" dirty="0">
                  <a:solidFill>
                    <a:srgbClr val="FFFFFF"/>
                  </a:solidFill>
                  <a:latin typeface="Gill Sans MT" panose="020B0502020104020203" pitchFamily="34" charset="0"/>
                  <a:ea typeface="Arial Black"/>
                  <a:cs typeface="Arial Black"/>
                  <a:sym typeface="Arial Black"/>
                </a:rPr>
                <a:t>Cross-Agency Data Sharing</a:t>
              </a:r>
            </a:p>
          </p:txBody>
        </p:sp>
        <p:sp>
          <p:nvSpPr>
            <p:cNvPr id="14" name="Google Shape;403;p6">
              <a:extLst>
                <a:ext uri="{FF2B5EF4-FFF2-40B4-BE49-F238E27FC236}">
                  <a16:creationId xmlns:a16="http://schemas.microsoft.com/office/drawing/2014/main" id="{E17CE04B-5203-43DF-942E-FD3378936612}"/>
                </a:ext>
              </a:extLst>
            </p:cNvPr>
            <p:cNvSpPr/>
            <p:nvPr/>
          </p:nvSpPr>
          <p:spPr>
            <a:xfrm>
              <a:off x="321110" y="4747978"/>
              <a:ext cx="2651962" cy="42473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27432" tIns="27432" rIns="27432" bIns="27432" anchor="t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200" i="1" dirty="0">
                  <a:solidFill>
                    <a:srgbClr val="002856"/>
                  </a:solidFill>
                  <a:latin typeface="Gill Sans MT" panose="020B0502020104020203" pitchFamily="34" charset="0"/>
                  <a:ea typeface="Arial"/>
                  <a:cs typeface="Arial"/>
                  <a:sym typeface="Arial"/>
                </a:rPr>
                <a:t>A common data language to support consistent data definitions</a:t>
              </a:r>
              <a:endParaRPr lang="en-US" sz="3200" dirty="0">
                <a:latin typeface="Gill Sans MT" panose="020B0502020104020203" pitchFamily="34" charset="0"/>
              </a:endParaRPr>
            </a:p>
          </p:txBody>
        </p:sp>
        <p:sp>
          <p:nvSpPr>
            <p:cNvPr id="19" name="Google Shape;392;p6">
              <a:extLst>
                <a:ext uri="{FF2B5EF4-FFF2-40B4-BE49-F238E27FC236}">
                  <a16:creationId xmlns:a16="http://schemas.microsoft.com/office/drawing/2014/main" id="{60896281-FAA4-4D3A-B43C-B48E2C6FF796}"/>
                </a:ext>
              </a:extLst>
            </p:cNvPr>
            <p:cNvSpPr/>
            <p:nvPr/>
          </p:nvSpPr>
          <p:spPr>
            <a:xfrm>
              <a:off x="9170440" y="4400475"/>
              <a:ext cx="2651963" cy="313553"/>
            </a:xfrm>
            <a:prstGeom prst="rect">
              <a:avLst/>
            </a:prstGeom>
            <a:solidFill>
              <a:srgbClr val="6A80A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lvl="0" algn="ctr"/>
              <a:r>
                <a:rPr lang="en-US" sz="1200" dirty="0">
                  <a:solidFill>
                    <a:srgbClr val="FFFFFF"/>
                  </a:solidFill>
                  <a:latin typeface="Gill Sans MT" panose="020B0502020104020203" pitchFamily="34" charset="0"/>
                  <a:ea typeface="Arial Black"/>
                  <a:cs typeface="Arial Black"/>
                  <a:sym typeface="Arial Black"/>
                </a:rPr>
                <a:t>Execution Oversight</a:t>
              </a:r>
            </a:p>
          </p:txBody>
        </p:sp>
        <p:sp>
          <p:nvSpPr>
            <p:cNvPr id="20" name="Google Shape;403;p6">
              <a:extLst>
                <a:ext uri="{FF2B5EF4-FFF2-40B4-BE49-F238E27FC236}">
                  <a16:creationId xmlns:a16="http://schemas.microsoft.com/office/drawing/2014/main" id="{2FEF7FB1-41D9-4514-926D-92B5C27F0FA4}"/>
                </a:ext>
              </a:extLst>
            </p:cNvPr>
            <p:cNvSpPr/>
            <p:nvPr/>
          </p:nvSpPr>
          <p:spPr>
            <a:xfrm>
              <a:off x="3264417" y="4747978"/>
              <a:ext cx="2651962" cy="42473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27432" tIns="27432" rIns="27432" bIns="27432" anchor="t" anchorCtr="0">
              <a:spAutoFit/>
            </a:bodyPr>
            <a:lstStyle/>
            <a:p>
              <a:pPr lvl="0" algn="ctr"/>
              <a:r>
                <a:rPr lang="en-US" sz="1200" i="1" dirty="0">
                  <a:solidFill>
                    <a:srgbClr val="002856"/>
                  </a:solidFill>
                  <a:latin typeface="Gill Sans MT" panose="020B0502020104020203" pitchFamily="34" charset="0"/>
                  <a:ea typeface="Arial"/>
                  <a:cs typeface="Arial"/>
                  <a:sym typeface="Arial"/>
                </a:rPr>
                <a:t>Defined interagency roles, responsibilities, accountabilities, and processes</a:t>
              </a:r>
              <a:endParaRPr lang="en-US" sz="1200" dirty="0">
                <a:latin typeface="Gill Sans MT" panose="020B0502020104020203" pitchFamily="34" charset="0"/>
              </a:endParaRPr>
            </a:p>
          </p:txBody>
        </p:sp>
        <p:sp>
          <p:nvSpPr>
            <p:cNvPr id="21" name="Google Shape;403;p6">
              <a:extLst>
                <a:ext uri="{FF2B5EF4-FFF2-40B4-BE49-F238E27FC236}">
                  <a16:creationId xmlns:a16="http://schemas.microsoft.com/office/drawing/2014/main" id="{F3357282-60AB-48EB-986E-56D9B6DFD782}"/>
                </a:ext>
              </a:extLst>
            </p:cNvPr>
            <p:cNvSpPr/>
            <p:nvPr/>
          </p:nvSpPr>
          <p:spPr>
            <a:xfrm>
              <a:off x="6207724" y="4747978"/>
              <a:ext cx="2651962" cy="42473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27432" tIns="27432" rIns="27432" bIns="27432" anchor="t" anchorCtr="0">
              <a:spAutoFit/>
            </a:bodyPr>
            <a:lstStyle/>
            <a:p>
              <a:pPr lvl="0" algn="ctr"/>
              <a:r>
                <a:rPr lang="en-US" sz="1200" i="1" dirty="0">
                  <a:solidFill>
                    <a:srgbClr val="002856"/>
                  </a:solidFill>
                  <a:latin typeface="Gill Sans MT" panose="020B0502020104020203" pitchFamily="34" charset="0"/>
                  <a:ea typeface="Arial"/>
                  <a:cs typeface="Arial"/>
                  <a:sym typeface="Arial"/>
                </a:rPr>
                <a:t>Requirements for the integration and development of supporting technology</a:t>
              </a:r>
              <a:endParaRPr lang="en-US" sz="1200" dirty="0">
                <a:latin typeface="Gill Sans MT" panose="020B0502020104020203" pitchFamily="34" charset="0"/>
              </a:endParaRPr>
            </a:p>
          </p:txBody>
        </p:sp>
        <p:sp>
          <p:nvSpPr>
            <p:cNvPr id="22" name="Google Shape;403;p6">
              <a:extLst>
                <a:ext uri="{FF2B5EF4-FFF2-40B4-BE49-F238E27FC236}">
                  <a16:creationId xmlns:a16="http://schemas.microsoft.com/office/drawing/2014/main" id="{C07B5C38-319C-409E-9FB3-921850607F2A}"/>
                </a:ext>
              </a:extLst>
            </p:cNvPr>
            <p:cNvSpPr/>
            <p:nvPr/>
          </p:nvSpPr>
          <p:spPr>
            <a:xfrm>
              <a:off x="9151031" y="4747978"/>
              <a:ext cx="2716684" cy="42473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27432" tIns="27432" rIns="27432" bIns="27432" anchor="t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200" i="1" dirty="0">
                  <a:solidFill>
                    <a:srgbClr val="002856"/>
                  </a:solidFill>
                  <a:latin typeface="Gill Sans MT" panose="020B0502020104020203" pitchFamily="34" charset="0"/>
                  <a:ea typeface="Arial"/>
                  <a:cs typeface="Arial"/>
                  <a:sym typeface="Arial"/>
                </a:rPr>
                <a:t>Processes and procedures to operationalize and oversee target state implementation</a:t>
              </a:r>
              <a:endParaRPr lang="en-US" sz="3200" dirty="0">
                <a:latin typeface="Gill Sans MT" panose="020B0502020104020203" pitchFamily="34" charset="0"/>
              </a:endParaRPr>
            </a:p>
          </p:txBody>
        </p: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6040AD3C-72C0-4E4C-99B8-0BC658CD553A}"/>
              </a:ext>
            </a:extLst>
          </p:cNvPr>
          <p:cNvGrpSpPr/>
          <p:nvPr/>
        </p:nvGrpSpPr>
        <p:grpSpPr>
          <a:xfrm>
            <a:off x="-1588" y="1097889"/>
            <a:ext cx="12192000" cy="2309983"/>
            <a:chOff x="0" y="1097889"/>
            <a:chExt cx="12192000" cy="2309983"/>
          </a:xfrm>
        </p:grpSpPr>
        <p:cxnSp>
          <p:nvCxnSpPr>
            <p:cNvPr id="7" name="Google Shape;383;p6">
              <a:extLst>
                <a:ext uri="{FF2B5EF4-FFF2-40B4-BE49-F238E27FC236}">
                  <a16:creationId xmlns:a16="http://schemas.microsoft.com/office/drawing/2014/main" id="{9DBD36B3-5888-40D5-A588-6E5F457EE776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1363326"/>
              <a:ext cx="12192000" cy="0"/>
            </a:xfrm>
            <a:prstGeom prst="straightConnector1">
              <a:avLst/>
            </a:prstGeom>
            <a:noFill/>
            <a:ln w="19050" cap="flat" cmpd="sng">
              <a:solidFill>
                <a:srgbClr val="D3D3D3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sp>
          <p:nvSpPr>
            <p:cNvPr id="8" name="Google Shape;384;p6">
              <a:extLst>
                <a:ext uri="{FF2B5EF4-FFF2-40B4-BE49-F238E27FC236}">
                  <a16:creationId xmlns:a16="http://schemas.microsoft.com/office/drawing/2014/main" id="{395C6703-3054-47F6-845F-F9B5D9081A25}"/>
                </a:ext>
              </a:extLst>
            </p:cNvPr>
            <p:cNvSpPr txBox="1"/>
            <p:nvPr/>
          </p:nvSpPr>
          <p:spPr>
            <a:xfrm>
              <a:off x="4722812" y="1097889"/>
              <a:ext cx="2743200" cy="530874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0" tIns="45700" rIns="91425" bIns="45700" anchor="t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800" b="1" dirty="0">
                  <a:solidFill>
                    <a:srgbClr val="355578"/>
                  </a:solidFill>
                  <a:latin typeface="Gill Sans MT" panose="020B0502020104020203" pitchFamily="34" charset="0"/>
                  <a:ea typeface="Arial Black"/>
                  <a:cs typeface="Arial Black"/>
                  <a:sym typeface="Arial Black"/>
                </a:rPr>
                <a:t>Outcomes</a:t>
              </a:r>
              <a:endParaRPr lang="en-US" sz="2800" dirty="0">
                <a:solidFill>
                  <a:srgbClr val="355578"/>
                </a:solidFill>
                <a:latin typeface="Gill Sans MT" panose="020B0502020104020203" pitchFamily="34" charset="0"/>
              </a:endParaRPr>
            </a:p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050" b="1" i="1" dirty="0">
                  <a:solidFill>
                    <a:srgbClr val="355578"/>
                  </a:solidFill>
                  <a:latin typeface="Gill Sans MT" panose="020B0502020104020203" pitchFamily="34" charset="0"/>
                  <a:ea typeface="Arial"/>
                  <a:cs typeface="Arial"/>
                  <a:sym typeface="Arial"/>
                </a:rPr>
                <a:t>(Where we are going)</a:t>
              </a:r>
              <a:endParaRPr lang="en-US" sz="1800" b="1" i="1" dirty="0">
                <a:solidFill>
                  <a:srgbClr val="355578"/>
                </a:solidFill>
                <a:latin typeface="Gill Sans MT" panose="020B0502020104020203" pitchFamily="34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31" name="Google Shape;395;p6">
              <a:extLst>
                <a:ext uri="{FF2B5EF4-FFF2-40B4-BE49-F238E27FC236}">
                  <a16:creationId xmlns:a16="http://schemas.microsoft.com/office/drawing/2014/main" id="{A1AD8ACF-2AE8-4182-A9F3-51BEE2BBFF17}"/>
                </a:ext>
              </a:extLst>
            </p:cNvPr>
            <p:cNvSpPr/>
            <p:nvPr/>
          </p:nvSpPr>
          <p:spPr>
            <a:xfrm>
              <a:off x="302010" y="2613808"/>
              <a:ext cx="1789630" cy="79406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27432" tIns="27432" rIns="27432" bIns="27432" anchor="t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200" i="1" dirty="0">
                  <a:solidFill>
                    <a:srgbClr val="002856"/>
                  </a:solidFill>
                  <a:latin typeface="Gill Sans MT" panose="020B0502020104020203" pitchFamily="34" charset="0"/>
                  <a:ea typeface="Arial"/>
                  <a:cs typeface="Arial"/>
                  <a:sym typeface="Arial"/>
                </a:rPr>
                <a:t>Data provide insights into agency performance to understand how to improve operations</a:t>
              </a:r>
              <a:endParaRPr lang="en-US" sz="3200" dirty="0">
                <a:latin typeface="Gill Sans MT" panose="020B0502020104020203" pitchFamily="34" charset="0"/>
              </a:endParaRPr>
            </a:p>
          </p:txBody>
        </p:sp>
        <p:sp>
          <p:nvSpPr>
            <p:cNvPr id="32" name="Google Shape;389;p6">
              <a:extLst>
                <a:ext uri="{FF2B5EF4-FFF2-40B4-BE49-F238E27FC236}">
                  <a16:creationId xmlns:a16="http://schemas.microsoft.com/office/drawing/2014/main" id="{56246F7F-1976-42F2-A24F-A933371549BA}"/>
                </a:ext>
              </a:extLst>
            </p:cNvPr>
            <p:cNvSpPr/>
            <p:nvPr/>
          </p:nvSpPr>
          <p:spPr>
            <a:xfrm>
              <a:off x="8071114" y="1699493"/>
              <a:ext cx="1789630" cy="923749"/>
            </a:xfrm>
            <a:prstGeom prst="rect">
              <a:avLst/>
            </a:prstGeom>
            <a:solidFill>
              <a:srgbClr val="355578"/>
            </a:solidFill>
            <a:ln>
              <a:noFill/>
            </a:ln>
          </p:spPr>
          <p:txBody>
            <a:bodyPr spcFirstLastPara="1" wrap="square" lIns="91425" tIns="45700" rIns="45700" bIns="45700" anchor="ctr" anchorCtr="0">
              <a:noAutofit/>
            </a:bodyPr>
            <a:lstStyle/>
            <a:p>
              <a:pPr lvl="0" algn="ctr"/>
              <a:r>
                <a:rPr lang="en-US" sz="1200" b="1" dirty="0">
                  <a:solidFill>
                    <a:srgbClr val="FFFFFF"/>
                  </a:solidFill>
                  <a:latin typeface="Gill Sans MT" panose="020B0502020104020203" pitchFamily="34" charset="0"/>
                  <a:ea typeface="Arial Black"/>
                  <a:cs typeface="Arial Black"/>
                  <a:sym typeface="Arial Black"/>
                </a:rPr>
                <a:t>Analyze Disparities and Evaluate Effectiveness of Reform Programs</a:t>
              </a:r>
            </a:p>
          </p:txBody>
        </p:sp>
        <p:sp>
          <p:nvSpPr>
            <p:cNvPr id="33" name="Google Shape;389;p6">
              <a:extLst>
                <a:ext uri="{FF2B5EF4-FFF2-40B4-BE49-F238E27FC236}">
                  <a16:creationId xmlns:a16="http://schemas.microsoft.com/office/drawing/2014/main" id="{24D85FF9-BAAF-45C0-A6CC-E1AA1E4D7315}"/>
                </a:ext>
              </a:extLst>
            </p:cNvPr>
            <p:cNvSpPr/>
            <p:nvPr/>
          </p:nvSpPr>
          <p:spPr>
            <a:xfrm>
              <a:off x="10013389" y="1699493"/>
              <a:ext cx="1789630" cy="923749"/>
            </a:xfrm>
            <a:prstGeom prst="rect">
              <a:avLst/>
            </a:prstGeom>
            <a:solidFill>
              <a:srgbClr val="355578"/>
            </a:solidFill>
            <a:ln>
              <a:noFill/>
            </a:ln>
          </p:spPr>
          <p:txBody>
            <a:bodyPr spcFirstLastPara="1" wrap="square" lIns="91425" tIns="45700" rIns="45700" bIns="45700" anchor="ctr" anchorCtr="0">
              <a:noAutofit/>
            </a:bodyPr>
            <a:lstStyle/>
            <a:p>
              <a:pPr lvl="0" algn="ctr"/>
              <a:r>
                <a:rPr lang="en-US" sz="1200" b="1" dirty="0">
                  <a:solidFill>
                    <a:srgbClr val="FFFFFF"/>
                  </a:solidFill>
                  <a:latin typeface="Gill Sans MT" panose="020B0502020104020203" pitchFamily="34" charset="0"/>
                  <a:ea typeface="Arial Black"/>
                  <a:cs typeface="Arial Black"/>
                  <a:sym typeface="Arial Black"/>
                </a:rPr>
                <a:t>Enable Studies of Recidivism and Other Criminal Justice Research</a:t>
              </a:r>
            </a:p>
          </p:txBody>
        </p:sp>
        <p:sp>
          <p:nvSpPr>
            <p:cNvPr id="34" name="Google Shape;389;p6">
              <a:extLst>
                <a:ext uri="{FF2B5EF4-FFF2-40B4-BE49-F238E27FC236}">
                  <a16:creationId xmlns:a16="http://schemas.microsoft.com/office/drawing/2014/main" id="{ECD59FFD-7DC1-4BA1-B2F3-B61CA6FE2652}"/>
                </a:ext>
              </a:extLst>
            </p:cNvPr>
            <p:cNvSpPr/>
            <p:nvPr/>
          </p:nvSpPr>
          <p:spPr>
            <a:xfrm>
              <a:off x="302010" y="1699493"/>
              <a:ext cx="1789630" cy="923749"/>
            </a:xfrm>
            <a:prstGeom prst="rect">
              <a:avLst/>
            </a:prstGeom>
            <a:solidFill>
              <a:srgbClr val="355578"/>
            </a:solidFill>
            <a:ln>
              <a:noFill/>
            </a:ln>
          </p:spPr>
          <p:txBody>
            <a:bodyPr spcFirstLastPara="1" wrap="square" lIns="91425" tIns="45700" rIns="45700" bIns="45700" anchor="ctr" anchorCtr="0">
              <a:noAutofit/>
            </a:bodyPr>
            <a:lstStyle/>
            <a:p>
              <a:pPr lvl="0" algn="ctr"/>
              <a:r>
                <a:rPr lang="en-US" sz="1200" b="1" dirty="0">
                  <a:solidFill>
                    <a:srgbClr val="FFFFFF"/>
                  </a:solidFill>
                  <a:latin typeface="Gill Sans MT" panose="020B0502020104020203" pitchFamily="34" charset="0"/>
                  <a:ea typeface="Arial Black"/>
                  <a:cs typeface="Arial Black"/>
                  <a:sym typeface="Arial Black"/>
                </a:rPr>
                <a:t>Drive Operational Efficiency and Effectiveness</a:t>
              </a:r>
            </a:p>
          </p:txBody>
        </p:sp>
        <p:sp>
          <p:nvSpPr>
            <p:cNvPr id="35" name="Google Shape;389;p6">
              <a:extLst>
                <a:ext uri="{FF2B5EF4-FFF2-40B4-BE49-F238E27FC236}">
                  <a16:creationId xmlns:a16="http://schemas.microsoft.com/office/drawing/2014/main" id="{BF38C885-021C-46E2-A02A-D92BD3DF3395}"/>
                </a:ext>
              </a:extLst>
            </p:cNvPr>
            <p:cNvSpPr/>
            <p:nvPr/>
          </p:nvSpPr>
          <p:spPr>
            <a:xfrm>
              <a:off x="4186562" y="1699493"/>
              <a:ext cx="1789630" cy="923749"/>
            </a:xfrm>
            <a:prstGeom prst="rect">
              <a:avLst/>
            </a:prstGeom>
            <a:solidFill>
              <a:srgbClr val="355578"/>
            </a:solidFill>
            <a:ln>
              <a:noFill/>
            </a:ln>
          </p:spPr>
          <p:txBody>
            <a:bodyPr spcFirstLastPara="1" wrap="square" lIns="91425" tIns="45700" rIns="45700" bIns="45700" anchor="ctr" anchorCtr="0">
              <a:noAutofit/>
            </a:bodyPr>
            <a:lstStyle/>
            <a:p>
              <a:pPr lvl="0" algn="ctr"/>
              <a:r>
                <a:rPr lang="en-US" sz="1200" b="1" dirty="0">
                  <a:solidFill>
                    <a:srgbClr val="FFFFFF"/>
                  </a:solidFill>
                  <a:latin typeface="Gill Sans MT" panose="020B0502020104020203" pitchFamily="34" charset="0"/>
                  <a:ea typeface="Arial Black"/>
                  <a:cs typeface="Arial Black"/>
                  <a:sym typeface="Arial Black"/>
                </a:rPr>
                <a:t>Increase Criminal Justice Data Availability, Quality, and Trust</a:t>
              </a:r>
            </a:p>
          </p:txBody>
        </p:sp>
        <p:sp>
          <p:nvSpPr>
            <p:cNvPr id="36" name="Google Shape;395;p6">
              <a:extLst>
                <a:ext uri="{FF2B5EF4-FFF2-40B4-BE49-F238E27FC236}">
                  <a16:creationId xmlns:a16="http://schemas.microsoft.com/office/drawing/2014/main" id="{F75BE55B-48BC-49B2-8EE0-F20CC9E565CE}"/>
                </a:ext>
              </a:extLst>
            </p:cNvPr>
            <p:cNvSpPr/>
            <p:nvPr/>
          </p:nvSpPr>
          <p:spPr>
            <a:xfrm>
              <a:off x="4186562" y="2621488"/>
              <a:ext cx="1789630" cy="60939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27432" tIns="27432" rIns="27432" bIns="27432" anchor="t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200" i="1" dirty="0">
                  <a:solidFill>
                    <a:srgbClr val="002856"/>
                  </a:solidFill>
                  <a:latin typeface="Gill Sans MT" panose="020B0502020104020203" pitchFamily="34" charset="0"/>
                  <a:ea typeface="Arial"/>
                  <a:cs typeface="Arial"/>
                  <a:sym typeface="Arial"/>
                </a:rPr>
                <a:t>Criminal justice data can be consistently and securely shared and reused</a:t>
              </a:r>
              <a:endParaRPr lang="en-US" sz="3200" dirty="0">
                <a:latin typeface="Gill Sans MT" panose="020B0502020104020203" pitchFamily="34" charset="0"/>
              </a:endParaRPr>
            </a:p>
          </p:txBody>
        </p:sp>
        <p:sp>
          <p:nvSpPr>
            <p:cNvPr id="37" name="Google Shape;395;p6">
              <a:extLst>
                <a:ext uri="{FF2B5EF4-FFF2-40B4-BE49-F238E27FC236}">
                  <a16:creationId xmlns:a16="http://schemas.microsoft.com/office/drawing/2014/main" id="{9156FD27-4B33-477B-A576-D01A567766D5}"/>
                </a:ext>
              </a:extLst>
            </p:cNvPr>
            <p:cNvSpPr/>
            <p:nvPr/>
          </p:nvSpPr>
          <p:spPr>
            <a:xfrm>
              <a:off x="8071113" y="2629168"/>
              <a:ext cx="1789631" cy="60939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27432" tIns="27432" rIns="27432" bIns="27432" anchor="t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200" i="1" dirty="0">
                  <a:solidFill>
                    <a:srgbClr val="002856"/>
                  </a:solidFill>
                  <a:latin typeface="Gill Sans MT" panose="020B0502020104020203" pitchFamily="34" charset="0"/>
                  <a:ea typeface="Arial"/>
                  <a:cs typeface="Arial"/>
                  <a:sym typeface="Arial"/>
                </a:rPr>
                <a:t>Data support understanding racial disparities and the success of reform programs </a:t>
              </a:r>
              <a:endParaRPr lang="en-US" sz="3200" dirty="0">
                <a:latin typeface="Gill Sans MT" panose="020B0502020104020203" pitchFamily="34" charset="0"/>
              </a:endParaRPr>
            </a:p>
          </p:txBody>
        </p:sp>
        <p:sp>
          <p:nvSpPr>
            <p:cNvPr id="38" name="Google Shape;395;p6">
              <a:extLst>
                <a:ext uri="{FF2B5EF4-FFF2-40B4-BE49-F238E27FC236}">
                  <a16:creationId xmlns:a16="http://schemas.microsoft.com/office/drawing/2014/main" id="{6831986D-9008-4C30-926E-0EB304305E57}"/>
                </a:ext>
              </a:extLst>
            </p:cNvPr>
            <p:cNvSpPr/>
            <p:nvPr/>
          </p:nvSpPr>
          <p:spPr>
            <a:xfrm>
              <a:off x="10013390" y="2633008"/>
              <a:ext cx="1789630" cy="60939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27432" tIns="27432" rIns="27432" bIns="27432" anchor="t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200" i="1" dirty="0">
                  <a:solidFill>
                    <a:srgbClr val="002856"/>
                  </a:solidFill>
                  <a:latin typeface="Gill Sans MT" panose="020B0502020104020203" pitchFamily="34" charset="0"/>
                  <a:ea typeface="Arial"/>
                  <a:cs typeface="Arial"/>
                  <a:sym typeface="Arial"/>
                </a:rPr>
                <a:t>Data support criminal justice reform studies more intuitively and through easier access</a:t>
              </a:r>
              <a:endParaRPr lang="en-US" sz="3200" dirty="0">
                <a:latin typeface="Gill Sans MT" panose="020B0502020104020203" pitchFamily="34" charset="0"/>
              </a:endParaRPr>
            </a:p>
          </p:txBody>
        </p:sp>
        <p:sp>
          <p:nvSpPr>
            <p:cNvPr id="39" name="Google Shape;389;p6">
              <a:extLst>
                <a:ext uri="{FF2B5EF4-FFF2-40B4-BE49-F238E27FC236}">
                  <a16:creationId xmlns:a16="http://schemas.microsoft.com/office/drawing/2014/main" id="{2F0D6885-2EBB-417D-8784-98820DA4AB93}"/>
                </a:ext>
              </a:extLst>
            </p:cNvPr>
            <p:cNvSpPr/>
            <p:nvPr/>
          </p:nvSpPr>
          <p:spPr>
            <a:xfrm>
              <a:off x="2244285" y="1705419"/>
              <a:ext cx="1789630" cy="923749"/>
            </a:xfrm>
            <a:prstGeom prst="rect">
              <a:avLst/>
            </a:prstGeom>
            <a:solidFill>
              <a:srgbClr val="355578"/>
            </a:solidFill>
            <a:ln>
              <a:noFill/>
            </a:ln>
          </p:spPr>
          <p:txBody>
            <a:bodyPr spcFirstLastPara="1" wrap="square" lIns="91425" tIns="45700" rIns="45700" bIns="45700" anchor="ctr" anchorCtr="0">
              <a:noAutofit/>
            </a:bodyPr>
            <a:lstStyle/>
            <a:p>
              <a:pPr lvl="0" algn="ctr"/>
              <a:r>
                <a:rPr lang="en-US" sz="1200" b="1" dirty="0">
                  <a:solidFill>
                    <a:srgbClr val="FFFFFF"/>
                  </a:solidFill>
                  <a:latin typeface="Gill Sans MT" panose="020B0502020104020203" pitchFamily="34" charset="0"/>
                  <a:ea typeface="Arial Black"/>
                  <a:cs typeface="Arial Black"/>
                  <a:sym typeface="Arial Black"/>
                </a:rPr>
                <a:t>Enable Linkages of Individual Records Across the Criminal Justice System </a:t>
              </a:r>
            </a:p>
          </p:txBody>
        </p:sp>
        <p:sp>
          <p:nvSpPr>
            <p:cNvPr id="40" name="Google Shape;395;p6">
              <a:extLst>
                <a:ext uri="{FF2B5EF4-FFF2-40B4-BE49-F238E27FC236}">
                  <a16:creationId xmlns:a16="http://schemas.microsoft.com/office/drawing/2014/main" id="{7A407BE8-6E33-455D-A3EF-62105F2B939A}"/>
                </a:ext>
              </a:extLst>
            </p:cNvPr>
            <p:cNvSpPr/>
            <p:nvPr/>
          </p:nvSpPr>
          <p:spPr>
            <a:xfrm>
              <a:off x="2244285" y="2631254"/>
              <a:ext cx="1789630" cy="60939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27432" tIns="27432" rIns="27432" bIns="27432" anchor="t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200" i="1" dirty="0">
                  <a:solidFill>
                    <a:srgbClr val="002856"/>
                  </a:solidFill>
                  <a:latin typeface="Gill Sans MT" panose="020B0502020104020203" pitchFamily="34" charset="0"/>
                  <a:ea typeface="Arial"/>
                  <a:cs typeface="Arial"/>
                  <a:sym typeface="Arial"/>
                </a:rPr>
                <a:t>Individuals are tracked consistently throughout the entire criminal justice System</a:t>
              </a:r>
              <a:endParaRPr lang="en-US" sz="3200" dirty="0">
                <a:latin typeface="Gill Sans MT" panose="020B0502020104020203" pitchFamily="34" charset="0"/>
              </a:endParaRPr>
            </a:p>
          </p:txBody>
        </p:sp>
        <p:sp>
          <p:nvSpPr>
            <p:cNvPr id="41" name="Google Shape;389;p6">
              <a:extLst>
                <a:ext uri="{FF2B5EF4-FFF2-40B4-BE49-F238E27FC236}">
                  <a16:creationId xmlns:a16="http://schemas.microsoft.com/office/drawing/2014/main" id="{4E1B811B-5A20-4C94-BB77-81AC73C98B07}"/>
                </a:ext>
              </a:extLst>
            </p:cNvPr>
            <p:cNvSpPr/>
            <p:nvPr/>
          </p:nvSpPr>
          <p:spPr>
            <a:xfrm>
              <a:off x="6128836" y="1702910"/>
              <a:ext cx="1789630" cy="923749"/>
            </a:xfrm>
            <a:prstGeom prst="rect">
              <a:avLst/>
            </a:prstGeom>
            <a:solidFill>
              <a:srgbClr val="355578"/>
            </a:solidFill>
            <a:ln>
              <a:noFill/>
            </a:ln>
          </p:spPr>
          <p:txBody>
            <a:bodyPr spcFirstLastPara="1" wrap="square" lIns="91425" tIns="45700" rIns="45700" bIns="45700" anchor="ctr" anchorCtr="0">
              <a:noAutofit/>
            </a:bodyPr>
            <a:lstStyle/>
            <a:p>
              <a:pPr lvl="0" algn="ctr"/>
              <a:r>
                <a:rPr lang="en-US" sz="1200" b="1" dirty="0">
                  <a:solidFill>
                    <a:srgbClr val="FFFFFF"/>
                  </a:solidFill>
                  <a:latin typeface="Gill Sans MT" panose="020B0502020104020203" pitchFamily="34" charset="0"/>
                  <a:ea typeface="Arial Black"/>
                  <a:cs typeface="Arial Black"/>
                  <a:sym typeface="Arial Black"/>
                </a:rPr>
                <a:t>Empower Data-Driven Decision Making and Monitoring </a:t>
              </a:r>
            </a:p>
          </p:txBody>
        </p:sp>
        <p:sp>
          <p:nvSpPr>
            <p:cNvPr id="42" name="Google Shape;395;p6">
              <a:extLst>
                <a:ext uri="{FF2B5EF4-FFF2-40B4-BE49-F238E27FC236}">
                  <a16:creationId xmlns:a16="http://schemas.microsoft.com/office/drawing/2014/main" id="{87294F4E-0C79-49C7-956B-B8B219683964}"/>
                </a:ext>
              </a:extLst>
            </p:cNvPr>
            <p:cNvSpPr/>
            <p:nvPr/>
          </p:nvSpPr>
          <p:spPr>
            <a:xfrm>
              <a:off x="6128836" y="2621065"/>
              <a:ext cx="1789630" cy="42473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27432" tIns="27432" rIns="27432" bIns="27432" anchor="t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200" i="1" dirty="0">
                  <a:solidFill>
                    <a:srgbClr val="002856"/>
                  </a:solidFill>
                  <a:latin typeface="Gill Sans MT" panose="020B0502020104020203" pitchFamily="34" charset="0"/>
                  <a:ea typeface="Arial"/>
                  <a:cs typeface="Arial"/>
                  <a:sym typeface="Arial"/>
                </a:rPr>
                <a:t>Data support key decisions for policies and budgeting</a:t>
              </a:r>
              <a:endParaRPr lang="en-US" sz="3200" dirty="0">
                <a:latin typeface="Gill Sans MT" panose="020B0502020104020203" pitchFamily="34" charset="0"/>
              </a:endParaRPr>
            </a:p>
          </p:txBody>
        </p: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B3579A5A-0F67-484B-9D4F-83D4FA3F4B6F}"/>
              </a:ext>
            </a:extLst>
          </p:cNvPr>
          <p:cNvGrpSpPr/>
          <p:nvPr/>
        </p:nvGrpSpPr>
        <p:grpSpPr>
          <a:xfrm>
            <a:off x="565" y="5299717"/>
            <a:ext cx="12192000" cy="943322"/>
            <a:chOff x="565" y="5159757"/>
            <a:chExt cx="12192000" cy="943322"/>
          </a:xfrm>
        </p:grpSpPr>
        <p:cxnSp>
          <p:nvCxnSpPr>
            <p:cNvPr id="28" name="Google Shape;381;p6">
              <a:extLst>
                <a:ext uri="{FF2B5EF4-FFF2-40B4-BE49-F238E27FC236}">
                  <a16:creationId xmlns:a16="http://schemas.microsoft.com/office/drawing/2014/main" id="{6A73947F-0A6E-43EA-8A13-83520B6E7DEB}"/>
                </a:ext>
              </a:extLst>
            </p:cNvPr>
            <p:cNvCxnSpPr>
              <a:cxnSpLocks/>
            </p:cNvCxnSpPr>
            <p:nvPr/>
          </p:nvCxnSpPr>
          <p:spPr>
            <a:xfrm>
              <a:off x="565" y="5425194"/>
              <a:ext cx="12192000" cy="0"/>
            </a:xfrm>
            <a:prstGeom prst="straightConnector1">
              <a:avLst/>
            </a:prstGeom>
            <a:noFill/>
            <a:ln w="19050" cap="flat" cmpd="sng">
              <a:solidFill>
                <a:srgbClr val="D3D3D3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sp>
          <p:nvSpPr>
            <p:cNvPr id="29" name="Google Shape;382;p6">
              <a:extLst>
                <a:ext uri="{FF2B5EF4-FFF2-40B4-BE49-F238E27FC236}">
                  <a16:creationId xmlns:a16="http://schemas.microsoft.com/office/drawing/2014/main" id="{C760DD9B-2162-4AE1-A877-2D26CE72C0B8}"/>
                </a:ext>
              </a:extLst>
            </p:cNvPr>
            <p:cNvSpPr txBox="1"/>
            <p:nvPr/>
          </p:nvSpPr>
          <p:spPr>
            <a:xfrm>
              <a:off x="4722812" y="5159757"/>
              <a:ext cx="2743200" cy="530874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0" tIns="45700" rIns="91425" bIns="45700" anchor="t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800" b="1" dirty="0">
                  <a:solidFill>
                    <a:srgbClr val="6F7878"/>
                  </a:solidFill>
                  <a:latin typeface="Gill Sans MT" panose="020B0502020104020203" pitchFamily="34" charset="0"/>
                  <a:ea typeface="Arial Black"/>
                  <a:cs typeface="Arial Black"/>
                  <a:sym typeface="Arial Black"/>
                </a:rPr>
                <a:t>Key Capabilities</a:t>
              </a:r>
              <a:endParaRPr lang="en-US" sz="2800" dirty="0">
                <a:solidFill>
                  <a:srgbClr val="6F7878"/>
                </a:solidFill>
                <a:latin typeface="Gill Sans MT" panose="020B0502020104020203" pitchFamily="34" charset="0"/>
              </a:endParaRPr>
            </a:p>
            <a:p>
              <a:pPr lvl="0" algn="ctr"/>
              <a:r>
                <a:rPr lang="en-US" sz="1050" b="1" i="1" dirty="0">
                  <a:solidFill>
                    <a:srgbClr val="6F7878"/>
                  </a:solidFill>
                  <a:latin typeface="Gill Sans MT" panose="020B0502020104020203" pitchFamily="34" charset="0"/>
                  <a:ea typeface="Arial"/>
                  <a:cs typeface="Arial"/>
                  <a:sym typeface="Arial"/>
                </a:rPr>
                <a:t>(What We Need to Put in Place)</a:t>
              </a:r>
              <a:endParaRPr lang="en-US" sz="1800" b="1" dirty="0">
                <a:solidFill>
                  <a:srgbClr val="6F7878"/>
                </a:solidFill>
                <a:latin typeface="Gill Sans MT" panose="020B0502020104020203" pitchFamily="34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23" name="Google Shape;390;p6">
              <a:extLst>
                <a:ext uri="{FF2B5EF4-FFF2-40B4-BE49-F238E27FC236}">
                  <a16:creationId xmlns:a16="http://schemas.microsoft.com/office/drawing/2014/main" id="{BDBC7261-1AC3-4D14-A38A-8C245DB6598A}"/>
                </a:ext>
              </a:extLst>
            </p:cNvPr>
            <p:cNvSpPr/>
            <p:nvPr/>
          </p:nvSpPr>
          <p:spPr>
            <a:xfrm>
              <a:off x="2741482" y="5805353"/>
              <a:ext cx="1419214" cy="297726"/>
            </a:xfrm>
            <a:prstGeom prst="rect">
              <a:avLst/>
            </a:prstGeom>
            <a:solidFill>
              <a:srgbClr val="6F787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lvl="0" algn="ctr"/>
              <a:r>
                <a:rPr lang="en-US" sz="1200" dirty="0">
                  <a:solidFill>
                    <a:srgbClr val="FFFFFF"/>
                  </a:solidFill>
                  <a:latin typeface="Gill Sans MT" panose="020B0502020104020203" pitchFamily="34" charset="0"/>
                  <a:ea typeface="Arial Black"/>
                  <a:cs typeface="Arial Black"/>
                  <a:sym typeface="Arial Black"/>
                </a:rPr>
                <a:t>Data</a:t>
              </a:r>
            </a:p>
          </p:txBody>
        </p:sp>
        <p:sp>
          <p:nvSpPr>
            <p:cNvPr id="24" name="Google Shape;390;p6">
              <a:extLst>
                <a:ext uri="{FF2B5EF4-FFF2-40B4-BE49-F238E27FC236}">
                  <a16:creationId xmlns:a16="http://schemas.microsoft.com/office/drawing/2014/main" id="{80AF158F-89F6-43E1-87F5-C8A3A316C397}"/>
                </a:ext>
              </a:extLst>
            </p:cNvPr>
            <p:cNvSpPr/>
            <p:nvPr/>
          </p:nvSpPr>
          <p:spPr>
            <a:xfrm>
              <a:off x="4503698" y="5805353"/>
              <a:ext cx="1419214" cy="297726"/>
            </a:xfrm>
            <a:prstGeom prst="rect">
              <a:avLst/>
            </a:prstGeom>
            <a:solidFill>
              <a:srgbClr val="6F787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lvl="0" algn="ctr"/>
              <a:r>
                <a:rPr lang="en-US" sz="1200" dirty="0">
                  <a:solidFill>
                    <a:srgbClr val="FFFFFF"/>
                  </a:solidFill>
                  <a:latin typeface="Gill Sans MT" panose="020B0502020104020203" pitchFamily="34" charset="0"/>
                  <a:ea typeface="Arial Black"/>
                  <a:cs typeface="Arial Black"/>
                  <a:sym typeface="Arial Black"/>
                </a:rPr>
                <a:t>Governance</a:t>
              </a:r>
            </a:p>
          </p:txBody>
        </p:sp>
        <p:sp>
          <p:nvSpPr>
            <p:cNvPr id="25" name="Google Shape;390;p6">
              <a:extLst>
                <a:ext uri="{FF2B5EF4-FFF2-40B4-BE49-F238E27FC236}">
                  <a16:creationId xmlns:a16="http://schemas.microsoft.com/office/drawing/2014/main" id="{FAFE3212-D928-4A64-B2FC-54FD9FD61F3F}"/>
                </a:ext>
              </a:extLst>
            </p:cNvPr>
            <p:cNvSpPr/>
            <p:nvPr/>
          </p:nvSpPr>
          <p:spPr>
            <a:xfrm>
              <a:off x="6265914" y="5805353"/>
              <a:ext cx="1419214" cy="297726"/>
            </a:xfrm>
            <a:prstGeom prst="rect">
              <a:avLst/>
            </a:prstGeom>
            <a:solidFill>
              <a:srgbClr val="6F787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lvl="0" algn="ctr"/>
              <a:r>
                <a:rPr lang="en-US" sz="1200" dirty="0">
                  <a:solidFill>
                    <a:srgbClr val="FFFFFF"/>
                  </a:solidFill>
                  <a:latin typeface="Gill Sans MT" panose="020B0502020104020203" pitchFamily="34" charset="0"/>
                  <a:ea typeface="Arial Black"/>
                  <a:cs typeface="Arial Black"/>
                  <a:sym typeface="Arial Black"/>
                </a:rPr>
                <a:t>Process</a:t>
              </a:r>
            </a:p>
          </p:txBody>
        </p:sp>
        <p:sp>
          <p:nvSpPr>
            <p:cNvPr id="26" name="Google Shape;390;p6">
              <a:extLst>
                <a:ext uri="{FF2B5EF4-FFF2-40B4-BE49-F238E27FC236}">
                  <a16:creationId xmlns:a16="http://schemas.microsoft.com/office/drawing/2014/main" id="{4AF40B7C-2569-476B-AC51-BD76AB0ECB42}"/>
                </a:ext>
              </a:extLst>
            </p:cNvPr>
            <p:cNvSpPr/>
            <p:nvPr/>
          </p:nvSpPr>
          <p:spPr>
            <a:xfrm>
              <a:off x="8028130" y="5805353"/>
              <a:ext cx="1419214" cy="297726"/>
            </a:xfrm>
            <a:prstGeom prst="rect">
              <a:avLst/>
            </a:prstGeom>
            <a:solidFill>
              <a:srgbClr val="6F787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lvl="0" algn="ctr"/>
              <a:r>
                <a:rPr lang="en-US" sz="1200" dirty="0">
                  <a:solidFill>
                    <a:srgbClr val="FFFFFF"/>
                  </a:solidFill>
                  <a:latin typeface="Gill Sans MT" panose="020B0502020104020203" pitchFamily="34" charset="0"/>
                  <a:ea typeface="Arial Black"/>
                  <a:cs typeface="Arial Black"/>
                  <a:sym typeface="Arial Black"/>
                </a:rPr>
                <a:t>People / Org.</a:t>
              </a:r>
            </a:p>
          </p:txBody>
        </p:sp>
        <p:sp>
          <p:nvSpPr>
            <p:cNvPr id="27" name="Google Shape;390;p6">
              <a:extLst>
                <a:ext uri="{FF2B5EF4-FFF2-40B4-BE49-F238E27FC236}">
                  <a16:creationId xmlns:a16="http://schemas.microsoft.com/office/drawing/2014/main" id="{5921D740-263C-431C-BBFF-45BA602C43AE}"/>
                </a:ext>
              </a:extLst>
            </p:cNvPr>
            <p:cNvSpPr/>
            <p:nvPr/>
          </p:nvSpPr>
          <p:spPr>
            <a:xfrm>
              <a:off x="9790344" y="5805353"/>
              <a:ext cx="1419214" cy="297726"/>
            </a:xfrm>
            <a:prstGeom prst="rect">
              <a:avLst/>
            </a:prstGeom>
            <a:solidFill>
              <a:srgbClr val="6F787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lvl="0" algn="ctr"/>
              <a:r>
                <a:rPr lang="en-US" sz="1200" dirty="0">
                  <a:solidFill>
                    <a:srgbClr val="FFFFFF"/>
                  </a:solidFill>
                  <a:latin typeface="Gill Sans MT" panose="020B0502020104020203" pitchFamily="34" charset="0"/>
                  <a:ea typeface="Arial Black"/>
                  <a:cs typeface="Arial Black"/>
                  <a:sym typeface="Arial Black"/>
                </a:rPr>
                <a:t>Technology</a:t>
              </a:r>
            </a:p>
          </p:txBody>
        </p:sp>
        <p:sp>
          <p:nvSpPr>
            <p:cNvPr id="43" name="Google Shape;390;p6">
              <a:extLst>
                <a:ext uri="{FF2B5EF4-FFF2-40B4-BE49-F238E27FC236}">
                  <a16:creationId xmlns:a16="http://schemas.microsoft.com/office/drawing/2014/main" id="{C1C3A8C7-36D0-4B56-849E-1D87F6F64CE9}"/>
                </a:ext>
              </a:extLst>
            </p:cNvPr>
            <p:cNvSpPr/>
            <p:nvPr/>
          </p:nvSpPr>
          <p:spPr>
            <a:xfrm>
              <a:off x="979266" y="5805353"/>
              <a:ext cx="1419214" cy="297726"/>
            </a:xfrm>
            <a:prstGeom prst="rect">
              <a:avLst/>
            </a:prstGeom>
            <a:solidFill>
              <a:srgbClr val="6F787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lvl="0" algn="ctr"/>
              <a:r>
                <a:rPr lang="en-US" sz="1200" dirty="0">
                  <a:solidFill>
                    <a:srgbClr val="FFFFFF"/>
                  </a:solidFill>
                  <a:latin typeface="Gill Sans MT" panose="020B0502020104020203" pitchFamily="34" charset="0"/>
                  <a:ea typeface="Arial Black"/>
                  <a:cs typeface="Arial Black"/>
                  <a:sym typeface="Arial Black"/>
                </a:rPr>
                <a:t>Unique I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48112545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BF0439-4F6C-4F92-B93A-5A5E46434B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ecuting Major Milestones to Build </a:t>
            </a:r>
            <a:r>
              <a:rPr lang="en-US"/>
              <a:t>to Cross-Tracking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B151C8F-1B5D-49D4-8B21-683FD3D38D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EC0874-97F8-4ECC-A4D3-AE3F79FF2CF7}" type="datetime1">
              <a:rPr lang="en-US" smtClean="0"/>
              <a:t>4/1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54D48C1-C49C-429E-BBD2-227D0ABE3B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RAFT FOR POLICY AND PROGRAM DEVELOPMEN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BEE4C62-7DA9-4304-93B8-81D66831A8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239AC-B64B-47D9-9A99-24B0D39D1C15}" type="slidenum">
              <a:rPr lang="en-US" smtClean="0"/>
              <a:t>3</a:t>
            </a:fld>
            <a:endParaRPr lang="en-US" dirty="0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B1887BC3-75D7-4F79-B8E8-E7E484094030}"/>
              </a:ext>
            </a:extLst>
          </p:cNvPr>
          <p:cNvGrpSpPr/>
          <p:nvPr/>
        </p:nvGrpSpPr>
        <p:grpSpPr>
          <a:xfrm>
            <a:off x="418950" y="1272522"/>
            <a:ext cx="10956622" cy="1732836"/>
            <a:chOff x="418950" y="1140442"/>
            <a:chExt cx="10956622" cy="1732836"/>
          </a:xfrm>
        </p:grpSpPr>
        <p:sp>
          <p:nvSpPr>
            <p:cNvPr id="10" name="Isosceles Triangle 9">
              <a:extLst>
                <a:ext uri="{FF2B5EF4-FFF2-40B4-BE49-F238E27FC236}">
                  <a16:creationId xmlns:a16="http://schemas.microsoft.com/office/drawing/2014/main" id="{7D0D2107-9487-4A84-8F09-CEF0EFC901AE}"/>
                </a:ext>
              </a:extLst>
            </p:cNvPr>
            <p:cNvSpPr/>
            <p:nvPr/>
          </p:nvSpPr>
          <p:spPr bwMode="gray">
            <a:xfrm rot="2700000" flipV="1">
              <a:off x="421254" y="1230136"/>
              <a:ext cx="273205" cy="277813"/>
            </a:xfrm>
            <a:prstGeom prst="triangle">
              <a:avLst>
                <a:gd name="adj" fmla="val 100000"/>
              </a:avLst>
            </a:prstGeom>
            <a:solidFill>
              <a:srgbClr val="1F497D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>
                <a:spcBef>
                  <a:spcPct val="50000"/>
                </a:spcBef>
                <a:spcAft>
                  <a:spcPct val="0"/>
                </a:spcAft>
                <a:defRPr/>
              </a:pPr>
              <a:endParaRPr lang="en-US" sz="1600" kern="0" dirty="0">
                <a:solidFill>
                  <a:srgbClr val="000000"/>
                </a:solidFill>
                <a:latin typeface="Gill Sans MT" panose="020B0502020104020203" pitchFamily="34" charset="0"/>
                <a:ea typeface="Arial Unicode MS"/>
                <a:cs typeface="Arial Unicode MS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4F58E67B-C21C-4024-826C-356B1EE70E30}"/>
                </a:ext>
              </a:extLst>
            </p:cNvPr>
            <p:cNvSpPr/>
            <p:nvPr/>
          </p:nvSpPr>
          <p:spPr bwMode="gray">
            <a:xfrm>
              <a:off x="551268" y="1140442"/>
              <a:ext cx="9302623" cy="457200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lIns="365760" rtlCol="0" anchor="ctr"/>
            <a:lstStyle/>
            <a:p>
              <a:pPr>
                <a:spcBef>
                  <a:spcPct val="50000"/>
                </a:spcBef>
                <a:spcAft>
                  <a:spcPct val="0"/>
                </a:spcAft>
                <a:defRPr/>
              </a:pPr>
              <a:r>
                <a:rPr lang="en-US" b="1" kern="0" dirty="0">
                  <a:solidFill>
                    <a:schemeClr val="tx2"/>
                  </a:solidFill>
                  <a:latin typeface="Gill Sans MT" panose="020B0502020104020203" pitchFamily="34" charset="0"/>
                  <a:ea typeface="Arial Unicode MS"/>
                  <a:cs typeface="Arial Unicode MS"/>
                </a:rPr>
                <a:t>Maintaining Support and Expanding Participation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6025786-13F6-432F-8EE9-5AD1CCC24D84}"/>
                </a:ext>
              </a:extLst>
            </p:cNvPr>
            <p:cNvSpPr/>
            <p:nvPr/>
          </p:nvSpPr>
          <p:spPr>
            <a:xfrm>
              <a:off x="841150" y="1629087"/>
              <a:ext cx="10534422" cy="1244191"/>
            </a:xfrm>
            <a:prstGeom prst="rect">
              <a:avLst/>
            </a:prstGeom>
          </p:spPr>
          <p:txBody>
            <a:bodyPr>
              <a:noAutofit/>
            </a:bodyPr>
            <a:lstStyle/>
            <a:p>
              <a:pPr marL="285750" indent="-285750">
                <a:spcAft>
                  <a:spcPts val="600"/>
                </a:spcAft>
                <a:buFont typeface="Wingdings" panose="05000000000000000000" pitchFamily="2" charset="2"/>
                <a:buChar char="§"/>
              </a:pPr>
              <a:r>
                <a:rPr lang="en-US" sz="1800" dirty="0">
                  <a:latin typeface="Gill Sans MT" panose="020B0502020104020203" pitchFamily="34" charset="0"/>
                </a:rPr>
                <a:t>There is continued sustained support from members of the cross-jurisdictional Executive Steering Committee (ESC)* to guide program progress</a:t>
              </a:r>
            </a:p>
            <a:p>
              <a:pPr marL="285750" indent="-285750">
                <a:spcAft>
                  <a:spcPts val="600"/>
                </a:spcAft>
                <a:buFont typeface="Wingdings" panose="05000000000000000000" pitchFamily="2" charset="2"/>
                <a:buChar char="§"/>
              </a:pPr>
              <a:r>
                <a:rPr lang="en-US" sz="1800" dirty="0">
                  <a:latin typeface="Gill Sans MT" panose="020B0502020104020203" pitchFamily="34" charset="0"/>
                </a:rPr>
                <a:t>Upcoming outreach and meetings will include representatives from DAs and AGO to broaden understanding and participation</a:t>
              </a: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53CF8415-6040-4B4A-B4BD-C41F8DF119C5}"/>
              </a:ext>
            </a:extLst>
          </p:cNvPr>
          <p:cNvGrpSpPr/>
          <p:nvPr/>
        </p:nvGrpSpPr>
        <p:grpSpPr>
          <a:xfrm>
            <a:off x="418951" y="4564452"/>
            <a:ext cx="10956621" cy="1456977"/>
            <a:chOff x="418951" y="4564452"/>
            <a:chExt cx="10956621" cy="1456977"/>
          </a:xfrm>
        </p:grpSpPr>
        <p:sp>
          <p:nvSpPr>
            <p:cNvPr id="22" name="Isosceles Triangle 21">
              <a:extLst>
                <a:ext uri="{FF2B5EF4-FFF2-40B4-BE49-F238E27FC236}">
                  <a16:creationId xmlns:a16="http://schemas.microsoft.com/office/drawing/2014/main" id="{F0868F2F-3308-49ED-B317-446F36560BF3}"/>
                </a:ext>
              </a:extLst>
            </p:cNvPr>
            <p:cNvSpPr/>
            <p:nvPr/>
          </p:nvSpPr>
          <p:spPr bwMode="gray">
            <a:xfrm rot="2700000" flipV="1">
              <a:off x="421255" y="4654146"/>
              <a:ext cx="273205" cy="277813"/>
            </a:xfrm>
            <a:prstGeom prst="triangle">
              <a:avLst>
                <a:gd name="adj" fmla="val 100000"/>
              </a:avLst>
            </a:prstGeom>
            <a:solidFill>
              <a:srgbClr val="1F497D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>
                <a:spcBef>
                  <a:spcPct val="50000"/>
                </a:spcBef>
                <a:spcAft>
                  <a:spcPct val="0"/>
                </a:spcAft>
                <a:defRPr/>
              </a:pPr>
              <a:endParaRPr lang="en-US" sz="1600" kern="0" dirty="0">
                <a:solidFill>
                  <a:srgbClr val="000000"/>
                </a:solidFill>
                <a:latin typeface="Gill Sans MT" panose="020B0502020104020203" pitchFamily="34" charset="0"/>
                <a:ea typeface="Arial Unicode MS"/>
                <a:cs typeface="Arial Unicode MS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9B120283-EF73-4CC8-BC4C-1154424F441E}"/>
                </a:ext>
              </a:extLst>
            </p:cNvPr>
            <p:cNvSpPr/>
            <p:nvPr/>
          </p:nvSpPr>
          <p:spPr bwMode="gray">
            <a:xfrm>
              <a:off x="551269" y="4564452"/>
              <a:ext cx="8953651" cy="457200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lIns="365760" rtlCol="0" anchor="ctr"/>
            <a:lstStyle/>
            <a:p>
              <a:pPr>
                <a:spcBef>
                  <a:spcPct val="50000"/>
                </a:spcBef>
                <a:spcAft>
                  <a:spcPct val="0"/>
                </a:spcAft>
                <a:defRPr/>
              </a:pPr>
              <a:r>
                <a:rPr lang="en-US" b="1" kern="0" dirty="0">
                  <a:solidFill>
                    <a:schemeClr val="tx2"/>
                  </a:solidFill>
                  <a:latin typeface="Gill Sans MT" panose="020B0502020104020203" pitchFamily="34" charset="0"/>
                  <a:ea typeface="Arial Unicode MS"/>
                  <a:cs typeface="Arial Unicode MS"/>
                </a:rPr>
                <a:t>Developing the Cross-Tracking Platform</a:t>
              </a:r>
              <a:endParaRPr lang="en-US" b="1" kern="0" dirty="0">
                <a:solidFill>
                  <a:schemeClr val="tx2"/>
                </a:solidFill>
                <a:highlight>
                  <a:srgbClr val="FFFF00"/>
                </a:highlight>
                <a:latin typeface="Gill Sans MT" panose="020B0502020104020203" pitchFamily="34" charset="0"/>
                <a:ea typeface="Arial Unicode MS"/>
                <a:cs typeface="Arial Unicode MS"/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3722B6AA-99BE-41FC-B787-1DDD56E85EBC}"/>
                </a:ext>
              </a:extLst>
            </p:cNvPr>
            <p:cNvSpPr/>
            <p:nvPr/>
          </p:nvSpPr>
          <p:spPr>
            <a:xfrm>
              <a:off x="841151" y="5061309"/>
              <a:ext cx="10534421" cy="960120"/>
            </a:xfrm>
            <a:prstGeom prst="rect">
              <a:avLst/>
            </a:prstGeom>
          </p:spPr>
          <p:txBody>
            <a:bodyPr>
              <a:noAutofit/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en-US" sz="1800" dirty="0">
                  <a:latin typeface="Gill Sans MT" panose="020B0502020104020203" pitchFamily="34" charset="0"/>
                </a:rPr>
                <a:t>A cross-agency Commonwealth team in place to support platform development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en-US" sz="1800" dirty="0">
                  <a:latin typeface="Gill Sans MT" panose="020B0502020104020203" pitchFamily="34" charset="0"/>
                </a:rPr>
                <a:t>The vendor and Commonwealth teams have established a cadence and working toward initial design</a:t>
              </a:r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D187A2D2-3F3C-4A29-BE2A-9119CCDD0894}"/>
              </a:ext>
            </a:extLst>
          </p:cNvPr>
          <p:cNvSpPr txBox="1"/>
          <p:nvPr/>
        </p:nvSpPr>
        <p:spPr>
          <a:xfrm>
            <a:off x="381175" y="6256852"/>
            <a:ext cx="641266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i="1" dirty="0">
                <a:latin typeface="Gill Sans MT" panose="020B0502020104020203" pitchFamily="34" charset="0"/>
              </a:rPr>
              <a:t>* Note:  The Appendix contains the project governance structure.</a:t>
            </a:r>
            <a:endParaRPr lang="en-US" sz="1600" i="1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2BB109C9-ACEB-4421-8066-F161ECF46DEE}"/>
              </a:ext>
            </a:extLst>
          </p:cNvPr>
          <p:cNvGrpSpPr/>
          <p:nvPr/>
        </p:nvGrpSpPr>
        <p:grpSpPr>
          <a:xfrm>
            <a:off x="418950" y="3066400"/>
            <a:ext cx="10920355" cy="1437009"/>
            <a:chOff x="418950" y="3000361"/>
            <a:chExt cx="10920355" cy="1437009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CABC9476-A866-4BFD-AEDF-C1AC35A6DB84}"/>
                </a:ext>
              </a:extLst>
            </p:cNvPr>
            <p:cNvSpPr/>
            <p:nvPr/>
          </p:nvSpPr>
          <p:spPr bwMode="gray">
            <a:xfrm>
              <a:off x="551268" y="3000361"/>
              <a:ext cx="10775295" cy="45720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</a:ln>
            <a:effectLst/>
          </p:spPr>
          <p:txBody>
            <a:bodyPr lIns="365760" rtlCol="0" anchor="ctr"/>
            <a:lstStyle/>
            <a:p>
              <a:pPr>
                <a:spcBef>
                  <a:spcPct val="50000"/>
                </a:spcBef>
                <a:spcAft>
                  <a:spcPct val="0"/>
                </a:spcAft>
                <a:defRPr/>
              </a:pPr>
              <a:r>
                <a:rPr lang="en-US" b="1" kern="0" dirty="0">
                  <a:solidFill>
                    <a:schemeClr val="tx2"/>
                  </a:solidFill>
                  <a:latin typeface="Gill Sans MT" panose="020B0502020104020203" pitchFamily="34" charset="0"/>
                  <a:ea typeface="Arial Unicode MS"/>
                  <a:cs typeface="Arial Unicode MS"/>
                </a:rPr>
                <a:t>Continuing to Develop Standards to Improve Data Quality</a:t>
              </a: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11EEC16D-2BE7-4B81-864E-FE8DC21F806C}"/>
                </a:ext>
              </a:extLst>
            </p:cNvPr>
            <p:cNvSpPr/>
            <p:nvPr/>
          </p:nvSpPr>
          <p:spPr>
            <a:xfrm>
              <a:off x="841150" y="3476867"/>
              <a:ext cx="10498155" cy="960503"/>
            </a:xfrm>
            <a:prstGeom prst="rect">
              <a:avLst/>
            </a:prstGeom>
          </p:spPr>
          <p:txBody>
            <a:bodyPr>
              <a:noAutofit/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en-US" sz="1800" dirty="0">
                  <a:latin typeface="Gill Sans MT" panose="020B0502020104020203" pitchFamily="34" charset="0"/>
                </a:rPr>
                <a:t>Completing training for sheriffs for new OMS upgrade and associated reporting criteria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en-US" sz="1800" dirty="0">
                  <a:latin typeface="Gill Sans MT" panose="020B0502020104020203" pitchFamily="34" charset="0"/>
                </a:rPr>
                <a:t>The law enforcement (local and state PD) is developing an SOP to standardize data collection and reviewing system requirements to support</a:t>
              </a:r>
            </a:p>
          </p:txBody>
        </p:sp>
        <p:sp>
          <p:nvSpPr>
            <p:cNvPr id="25" name="Isosceles Triangle 24">
              <a:extLst>
                <a:ext uri="{FF2B5EF4-FFF2-40B4-BE49-F238E27FC236}">
                  <a16:creationId xmlns:a16="http://schemas.microsoft.com/office/drawing/2014/main" id="{111838B9-2220-41F5-BDE6-E45512A7E97A}"/>
                </a:ext>
              </a:extLst>
            </p:cNvPr>
            <p:cNvSpPr/>
            <p:nvPr/>
          </p:nvSpPr>
          <p:spPr bwMode="gray">
            <a:xfrm rot="2700000" flipV="1">
              <a:off x="421254" y="3099708"/>
              <a:ext cx="273205" cy="277813"/>
            </a:xfrm>
            <a:prstGeom prst="triangle">
              <a:avLst>
                <a:gd name="adj" fmla="val 100000"/>
              </a:avLst>
            </a:prstGeom>
            <a:solidFill>
              <a:srgbClr val="1F497D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>
                <a:spcBef>
                  <a:spcPct val="50000"/>
                </a:spcBef>
                <a:spcAft>
                  <a:spcPct val="0"/>
                </a:spcAft>
                <a:defRPr/>
              </a:pPr>
              <a:endParaRPr lang="en-US" sz="1600" kern="0" dirty="0">
                <a:solidFill>
                  <a:srgbClr val="000000"/>
                </a:solidFill>
                <a:latin typeface="Gill Sans MT" panose="020B0502020104020203" pitchFamily="34" charset="0"/>
                <a:ea typeface="Arial Unicode MS"/>
                <a:cs typeface="Arial Unicode M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4598583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A14744-33D2-44E2-9BBE-D01DAA1EB8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orkstream Focus Areas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208F575-E75F-4B10-A7C9-13F03595BB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EC0874-97F8-4ECC-A4D3-AE3F79FF2CF7}" type="datetime1">
              <a:rPr lang="en-US" smtClean="0"/>
              <a:t>4/1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6F164F-0D98-4CC2-A713-3D2F873A52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RAFT FOR POLICY AND PROGRAM DEVELOPMEN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83B838E-D52A-4FF2-8CBC-890B436E9F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239AC-B64B-47D9-9A99-24B0D39D1C15}" type="slidenum">
              <a:rPr lang="en-US" smtClean="0"/>
              <a:t>4</a:t>
            </a:fld>
            <a:endParaRPr lang="en-US" dirty="0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2CC1FE2F-5C74-4095-953C-5C1C07E15946}"/>
              </a:ext>
            </a:extLst>
          </p:cNvPr>
          <p:cNvSpPr/>
          <p:nvPr/>
        </p:nvSpPr>
        <p:spPr bwMode="gray">
          <a:xfrm>
            <a:off x="456406" y="1593397"/>
            <a:ext cx="5499101" cy="221569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F5668F76-8754-460D-89AE-84D2B314E3DB}"/>
              </a:ext>
            </a:extLst>
          </p:cNvPr>
          <p:cNvSpPr/>
          <p:nvPr/>
        </p:nvSpPr>
        <p:spPr bwMode="gray">
          <a:xfrm>
            <a:off x="456406" y="4022724"/>
            <a:ext cx="5499101" cy="221569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208A3595-D31A-4C42-8807-29C2C2FD9D10}"/>
              </a:ext>
            </a:extLst>
          </p:cNvPr>
          <p:cNvSpPr/>
          <p:nvPr/>
        </p:nvSpPr>
        <p:spPr bwMode="gray">
          <a:xfrm>
            <a:off x="6233318" y="1593397"/>
            <a:ext cx="5499099" cy="221569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32A2DC0E-04C6-489B-9584-F3D26D500FA4}"/>
              </a:ext>
            </a:extLst>
          </p:cNvPr>
          <p:cNvSpPr/>
          <p:nvPr/>
        </p:nvSpPr>
        <p:spPr bwMode="gray">
          <a:xfrm>
            <a:off x="6233318" y="4022724"/>
            <a:ext cx="5499099" cy="221569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F12E97CD-5E40-4BCC-A631-C655652868CE}"/>
              </a:ext>
            </a:extLst>
          </p:cNvPr>
          <p:cNvSpPr/>
          <p:nvPr/>
        </p:nvSpPr>
        <p:spPr bwMode="gray">
          <a:xfrm>
            <a:off x="652008" y="1739799"/>
            <a:ext cx="4690963" cy="200307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en-US" sz="1600" b="1" kern="0" dirty="0">
                <a:solidFill>
                  <a:srgbClr val="1F497D"/>
                </a:solidFill>
                <a:latin typeface="Gill Sans MT" panose="020B0502020104020203" pitchFamily="34" charset="0"/>
                <a:cs typeface="Arial" charset="0"/>
              </a:rPr>
              <a:t>Sheriffs and DOC</a:t>
            </a:r>
            <a:endParaRPr lang="en-US" sz="1600" dirty="0">
              <a:solidFill>
                <a:srgbClr val="1F497D"/>
              </a:solidFill>
              <a:latin typeface="Gill Sans MT" panose="020B0502020104020203" pitchFamily="34" charset="0"/>
            </a:endParaRPr>
          </a:p>
          <a:p>
            <a:pPr marL="171450" indent="-171450"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rgbClr val="000000"/>
                </a:solidFill>
                <a:latin typeface="Gill Sans MT" panose="020B0502020104020203" pitchFamily="34" charset="0"/>
              </a:rPr>
              <a:t>DOC developing metrics to capture progress with the regulations</a:t>
            </a:r>
          </a:p>
          <a:p>
            <a:pPr marL="171450" indent="-171450"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rgbClr val="000000"/>
                </a:solidFill>
                <a:latin typeface="Gill Sans MT" panose="020B0502020104020203" pitchFamily="34" charset="0"/>
              </a:rPr>
              <a:t>Sheriffs training to begin in April</a:t>
            </a:r>
          </a:p>
          <a:p>
            <a:pPr marL="171450" indent="-171450"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rgbClr val="000000"/>
                </a:solidFill>
                <a:latin typeface="Gill Sans MT" panose="020B0502020104020203" pitchFamily="34" charset="0"/>
              </a:rPr>
              <a:t>OMS upgrade delivered on March 31 for testing</a:t>
            </a:r>
          </a:p>
          <a:p>
            <a:pPr marL="171450" indent="-171450"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rgbClr val="000000"/>
                </a:solidFill>
                <a:latin typeface="Gill Sans MT" panose="020B0502020104020203" pitchFamily="34" charset="0"/>
              </a:rPr>
              <a:t>Next step: OMS upgrade user testing and production roll out by county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92543A14-FBB2-463A-85E0-AB3162620C5B}"/>
              </a:ext>
            </a:extLst>
          </p:cNvPr>
          <p:cNvSpPr/>
          <p:nvPr/>
        </p:nvSpPr>
        <p:spPr bwMode="gray">
          <a:xfrm>
            <a:off x="652008" y="4196238"/>
            <a:ext cx="4690963" cy="1895742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en-US" sz="1600" b="1" kern="0" dirty="0">
                <a:solidFill>
                  <a:srgbClr val="1F497D"/>
                </a:solidFill>
                <a:latin typeface="Gill Sans MT" panose="020B0502020104020203" pitchFamily="34" charset="0"/>
                <a:cs typeface="Arial" charset="0"/>
              </a:rPr>
              <a:t>Trial Court/Probation</a:t>
            </a:r>
          </a:p>
          <a:p>
            <a:pPr marL="171450" indent="-171450"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rgbClr val="000000"/>
                </a:solidFill>
                <a:latin typeface="Gill Sans MT" panose="020B0502020104020203" pitchFamily="34" charset="0"/>
              </a:rPr>
              <a:t>Conducting current state analysis</a:t>
            </a:r>
          </a:p>
          <a:p>
            <a:pPr marL="171450" indent="-171450"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rgbClr val="000000"/>
                </a:solidFill>
                <a:latin typeface="Gill Sans MT" panose="020B0502020104020203" pitchFamily="34" charset="0"/>
              </a:rPr>
              <a:t>Participation in ESC and OBTN workshop</a:t>
            </a:r>
          </a:p>
          <a:p>
            <a:pPr marL="171450" indent="-171450"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rgbClr val="000000"/>
                </a:solidFill>
                <a:latin typeface="Gill Sans MT" panose="020B0502020104020203" pitchFamily="34" charset="0"/>
              </a:rPr>
              <a:t>Next steps: Roadmap to </a:t>
            </a:r>
            <a:r>
              <a:rPr lang="en-US" sz="1600">
                <a:solidFill>
                  <a:srgbClr val="000000"/>
                </a:solidFill>
                <a:latin typeface="Gill Sans MT" panose="020B0502020104020203" pitchFamily="34" charset="0"/>
              </a:rPr>
              <a:t>accelerate digitization of the Court</a:t>
            </a:r>
            <a:endParaRPr lang="en-US" sz="1600" dirty="0">
              <a:solidFill>
                <a:srgbClr val="000000"/>
              </a:solidFill>
              <a:latin typeface="Gill Sans MT" panose="020B0502020104020203" pitchFamily="34" charset="0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5FF36391-FC8C-4253-AD5F-C2609DCEBC67}"/>
              </a:ext>
            </a:extLst>
          </p:cNvPr>
          <p:cNvSpPr/>
          <p:nvPr/>
        </p:nvSpPr>
        <p:spPr bwMode="gray">
          <a:xfrm>
            <a:off x="6900843" y="1739800"/>
            <a:ext cx="4831575" cy="200307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en-US" sz="1600" b="1" kern="0" dirty="0">
                <a:solidFill>
                  <a:srgbClr val="1F497D"/>
                </a:solidFill>
                <a:latin typeface="Gill Sans MT" panose="020B0502020104020203" pitchFamily="34" charset="0"/>
                <a:cs typeface="Arial" charset="0"/>
              </a:rPr>
              <a:t>Law Enforcement</a:t>
            </a:r>
          </a:p>
          <a:p>
            <a:pPr marL="171450" indent="-171450"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rgbClr val="000000"/>
                </a:solidFill>
                <a:latin typeface="Gill Sans MT" panose="020B0502020104020203" pitchFamily="34" charset="0"/>
              </a:rPr>
              <a:t>Completed current state assessment</a:t>
            </a:r>
          </a:p>
          <a:p>
            <a:pPr marL="171450" indent="-171450"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rgbClr val="000000"/>
                </a:solidFill>
                <a:latin typeface="Gill Sans MT" panose="020B0502020104020203" pitchFamily="34" charset="0"/>
              </a:rPr>
              <a:t>Developing and validating SOP</a:t>
            </a:r>
          </a:p>
          <a:p>
            <a:pPr marL="171450" indent="-171450"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rgbClr val="000000"/>
                </a:solidFill>
                <a:latin typeface="Gill Sans MT" panose="020B0502020104020203" pitchFamily="34" charset="0"/>
              </a:rPr>
              <a:t>Next steps:  Finalize SOP</a:t>
            </a:r>
          </a:p>
          <a:p>
            <a:pPr marL="171450" indent="-171450"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endParaRPr lang="en-US" sz="1600" dirty="0">
              <a:solidFill>
                <a:srgbClr val="000000"/>
              </a:solidFill>
              <a:latin typeface="Gill Sans MT" panose="020B0502020104020203" pitchFamily="34" charset="0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002472DD-3DB4-43CE-918C-9B6C9BCBD3FF}"/>
              </a:ext>
            </a:extLst>
          </p:cNvPr>
          <p:cNvSpPr/>
          <p:nvPr/>
        </p:nvSpPr>
        <p:spPr bwMode="gray">
          <a:xfrm>
            <a:off x="6900843" y="4196238"/>
            <a:ext cx="4687961" cy="1853702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en-US" sz="1600" b="1" kern="0" dirty="0">
                <a:solidFill>
                  <a:srgbClr val="1F497D"/>
                </a:solidFill>
                <a:latin typeface="Gill Sans MT" panose="020B0502020104020203" pitchFamily="34" charset="0"/>
                <a:cs typeface="Arial" charset="0"/>
              </a:rPr>
              <a:t>Data Analytics Platform*</a:t>
            </a:r>
          </a:p>
          <a:p>
            <a:pPr marL="171450" indent="-171450"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rgbClr val="000000"/>
                </a:solidFill>
                <a:latin typeface="Gill Sans MT" panose="020B0502020104020203" pitchFamily="34" charset="0"/>
              </a:rPr>
              <a:t>Assembled a Data Strike Team to represent respective Agencies and functions for platform development</a:t>
            </a:r>
          </a:p>
          <a:p>
            <a:pPr marL="171450" indent="-171450"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rgbClr val="000000"/>
                </a:solidFill>
                <a:latin typeface="Gill Sans MT" panose="020B0502020104020203" pitchFamily="34" charset="0"/>
              </a:rPr>
              <a:t>Initial environment established</a:t>
            </a:r>
          </a:p>
          <a:p>
            <a:pPr marL="171450" indent="-171450"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rgbClr val="000000"/>
                </a:solidFill>
                <a:latin typeface="Gill Sans MT" panose="020B0502020104020203" pitchFamily="34" charset="0"/>
              </a:rPr>
              <a:t>Next steps: Phase 1 public dashboard deployment</a:t>
            </a:r>
          </a:p>
        </p:txBody>
      </p:sp>
      <p:pic>
        <p:nvPicPr>
          <p:cNvPr id="45" name="Graphic 44">
            <a:extLst>
              <a:ext uri="{FF2B5EF4-FFF2-40B4-BE49-F238E27FC236}">
                <a16:creationId xmlns:a16="http://schemas.microsoft.com/office/drawing/2014/main" id="{BC160389-AF18-4C3B-9A7E-E609C770DC6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 bwMode="gray">
          <a:xfrm>
            <a:off x="5387811" y="1739799"/>
            <a:ext cx="423863" cy="358653"/>
          </a:xfrm>
          <a:prstGeom prst="rect">
            <a:avLst/>
          </a:prstGeom>
        </p:spPr>
      </p:pic>
      <p:grpSp>
        <p:nvGrpSpPr>
          <p:cNvPr id="46" name="Group 45">
            <a:extLst>
              <a:ext uri="{FF2B5EF4-FFF2-40B4-BE49-F238E27FC236}">
                <a16:creationId xmlns:a16="http://schemas.microsoft.com/office/drawing/2014/main" id="{8EAEE51C-B34F-4857-8A98-7939898BC319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6281330" y="5666950"/>
            <a:ext cx="571500" cy="381000"/>
            <a:chOff x="9110669" y="1367915"/>
            <a:chExt cx="571500" cy="381000"/>
          </a:xfrm>
          <a:solidFill>
            <a:srgbClr val="1F497D"/>
          </a:solidFill>
        </p:grpSpPr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3D0B992D-E31C-4737-87E6-75D30D80AE49}"/>
                </a:ext>
              </a:extLst>
            </p:cNvPr>
            <p:cNvSpPr/>
            <p:nvPr/>
          </p:nvSpPr>
          <p:spPr bwMode="gray">
            <a:xfrm>
              <a:off x="9272594" y="1518219"/>
              <a:ext cx="38100" cy="95250"/>
            </a:xfrm>
            <a:custGeom>
              <a:avLst/>
              <a:gdLst>
                <a:gd name="connsiteX0" fmla="*/ 0 w 38100"/>
                <a:gd name="connsiteY0" fmla="*/ 0 h 95250"/>
                <a:gd name="connsiteX1" fmla="*/ 38100 w 38100"/>
                <a:gd name="connsiteY1" fmla="*/ 0 h 95250"/>
                <a:gd name="connsiteX2" fmla="*/ 38100 w 38100"/>
                <a:gd name="connsiteY2" fmla="*/ 97345 h 95250"/>
                <a:gd name="connsiteX3" fmla="*/ 0 w 38100"/>
                <a:gd name="connsiteY3" fmla="*/ 97345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100" h="95250">
                  <a:moveTo>
                    <a:pt x="0" y="0"/>
                  </a:moveTo>
                  <a:lnTo>
                    <a:pt x="38100" y="0"/>
                  </a:lnTo>
                  <a:lnTo>
                    <a:pt x="38100" y="97345"/>
                  </a:lnTo>
                  <a:lnTo>
                    <a:pt x="0" y="9734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56E245BC-5382-47FD-B3EA-85B0A8D2BBD0}"/>
                </a:ext>
              </a:extLst>
            </p:cNvPr>
            <p:cNvSpPr/>
            <p:nvPr/>
          </p:nvSpPr>
          <p:spPr bwMode="gray">
            <a:xfrm>
              <a:off x="9339269" y="1481167"/>
              <a:ext cx="38100" cy="133350"/>
            </a:xfrm>
            <a:custGeom>
              <a:avLst/>
              <a:gdLst>
                <a:gd name="connsiteX0" fmla="*/ 0 w 38100"/>
                <a:gd name="connsiteY0" fmla="*/ 0 h 133350"/>
                <a:gd name="connsiteX1" fmla="*/ 38100 w 38100"/>
                <a:gd name="connsiteY1" fmla="*/ 0 h 133350"/>
                <a:gd name="connsiteX2" fmla="*/ 38100 w 38100"/>
                <a:gd name="connsiteY2" fmla="*/ 134398 h 133350"/>
                <a:gd name="connsiteX3" fmla="*/ 0 w 38100"/>
                <a:gd name="connsiteY3" fmla="*/ 134398 h 133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100" h="133350">
                  <a:moveTo>
                    <a:pt x="0" y="0"/>
                  </a:moveTo>
                  <a:lnTo>
                    <a:pt x="38100" y="0"/>
                  </a:lnTo>
                  <a:lnTo>
                    <a:pt x="38100" y="134398"/>
                  </a:lnTo>
                  <a:lnTo>
                    <a:pt x="0" y="13439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5BD7BE9D-6555-4DD2-A827-D4D8A44FB33C}"/>
                </a:ext>
              </a:extLst>
            </p:cNvPr>
            <p:cNvSpPr/>
            <p:nvPr/>
          </p:nvSpPr>
          <p:spPr bwMode="gray">
            <a:xfrm>
              <a:off x="9405944" y="1518219"/>
              <a:ext cx="38100" cy="95250"/>
            </a:xfrm>
            <a:custGeom>
              <a:avLst/>
              <a:gdLst>
                <a:gd name="connsiteX0" fmla="*/ 0 w 38100"/>
                <a:gd name="connsiteY0" fmla="*/ 0 h 95250"/>
                <a:gd name="connsiteX1" fmla="*/ 38100 w 38100"/>
                <a:gd name="connsiteY1" fmla="*/ 0 h 95250"/>
                <a:gd name="connsiteX2" fmla="*/ 38100 w 38100"/>
                <a:gd name="connsiteY2" fmla="*/ 97345 h 95250"/>
                <a:gd name="connsiteX3" fmla="*/ 0 w 38100"/>
                <a:gd name="connsiteY3" fmla="*/ 97345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100" h="95250">
                  <a:moveTo>
                    <a:pt x="0" y="0"/>
                  </a:moveTo>
                  <a:lnTo>
                    <a:pt x="38100" y="0"/>
                  </a:lnTo>
                  <a:lnTo>
                    <a:pt x="38100" y="97345"/>
                  </a:lnTo>
                  <a:lnTo>
                    <a:pt x="0" y="9734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A4790585-8106-4826-9719-5A1FE31895D9}"/>
                </a:ext>
              </a:extLst>
            </p:cNvPr>
            <p:cNvSpPr/>
            <p:nvPr/>
          </p:nvSpPr>
          <p:spPr bwMode="gray">
            <a:xfrm>
              <a:off x="9472619" y="1444115"/>
              <a:ext cx="38100" cy="171450"/>
            </a:xfrm>
            <a:custGeom>
              <a:avLst/>
              <a:gdLst>
                <a:gd name="connsiteX0" fmla="*/ 0 w 38100"/>
                <a:gd name="connsiteY0" fmla="*/ 0 h 171450"/>
                <a:gd name="connsiteX1" fmla="*/ 38100 w 38100"/>
                <a:gd name="connsiteY1" fmla="*/ 0 h 171450"/>
                <a:gd name="connsiteX2" fmla="*/ 38100 w 38100"/>
                <a:gd name="connsiteY2" fmla="*/ 171450 h 171450"/>
                <a:gd name="connsiteX3" fmla="*/ 0 w 38100"/>
                <a:gd name="connsiteY3" fmla="*/ 17145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100" h="171450">
                  <a:moveTo>
                    <a:pt x="0" y="0"/>
                  </a:moveTo>
                  <a:lnTo>
                    <a:pt x="38100" y="0"/>
                  </a:lnTo>
                  <a:lnTo>
                    <a:pt x="38100" y="171450"/>
                  </a:lnTo>
                  <a:lnTo>
                    <a:pt x="0" y="1714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D8920DE6-91D5-4FE5-98F3-50847ACC0B2C}"/>
                </a:ext>
              </a:extLst>
            </p:cNvPr>
            <p:cNvSpPr/>
            <p:nvPr/>
          </p:nvSpPr>
          <p:spPr bwMode="gray">
            <a:xfrm>
              <a:off x="9110669" y="1710815"/>
              <a:ext cx="571500" cy="38100"/>
            </a:xfrm>
            <a:custGeom>
              <a:avLst/>
              <a:gdLst>
                <a:gd name="connsiteX0" fmla="*/ 0 w 571500"/>
                <a:gd name="connsiteY0" fmla="*/ 0 h 38100"/>
                <a:gd name="connsiteX1" fmla="*/ 571500 w 571500"/>
                <a:gd name="connsiteY1" fmla="*/ 0 h 38100"/>
                <a:gd name="connsiteX2" fmla="*/ 571500 w 571500"/>
                <a:gd name="connsiteY2" fmla="*/ 38100 h 38100"/>
                <a:gd name="connsiteX3" fmla="*/ 0 w 571500"/>
                <a:gd name="connsiteY3" fmla="*/ 3810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71500" h="38100">
                  <a:moveTo>
                    <a:pt x="0" y="0"/>
                  </a:moveTo>
                  <a:lnTo>
                    <a:pt x="571500" y="0"/>
                  </a:lnTo>
                  <a:lnTo>
                    <a:pt x="571500" y="38100"/>
                  </a:lnTo>
                  <a:lnTo>
                    <a:pt x="0" y="3810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6E091E74-226A-491F-B3FD-9630B0D1C0CE}"/>
                </a:ext>
              </a:extLst>
            </p:cNvPr>
            <p:cNvSpPr/>
            <p:nvPr/>
          </p:nvSpPr>
          <p:spPr bwMode="gray">
            <a:xfrm>
              <a:off x="9186869" y="1367915"/>
              <a:ext cx="419100" cy="304800"/>
            </a:xfrm>
            <a:custGeom>
              <a:avLst/>
              <a:gdLst>
                <a:gd name="connsiteX0" fmla="*/ 419100 w 419100"/>
                <a:gd name="connsiteY0" fmla="*/ 0 h 304800"/>
                <a:gd name="connsiteX1" fmla="*/ 0 w 419100"/>
                <a:gd name="connsiteY1" fmla="*/ 0 h 304800"/>
                <a:gd name="connsiteX2" fmla="*/ 0 w 419100"/>
                <a:gd name="connsiteY2" fmla="*/ 304800 h 304800"/>
                <a:gd name="connsiteX3" fmla="*/ 419100 w 419100"/>
                <a:gd name="connsiteY3" fmla="*/ 304800 h 304800"/>
                <a:gd name="connsiteX4" fmla="*/ 419100 w 419100"/>
                <a:gd name="connsiteY4" fmla="*/ 0 h 304800"/>
                <a:gd name="connsiteX5" fmla="*/ 381000 w 419100"/>
                <a:gd name="connsiteY5" fmla="*/ 266700 h 304800"/>
                <a:gd name="connsiteX6" fmla="*/ 38100 w 419100"/>
                <a:gd name="connsiteY6" fmla="*/ 266700 h 304800"/>
                <a:gd name="connsiteX7" fmla="*/ 38100 w 419100"/>
                <a:gd name="connsiteY7" fmla="*/ 38100 h 304800"/>
                <a:gd name="connsiteX8" fmla="*/ 381000 w 419100"/>
                <a:gd name="connsiteY8" fmla="*/ 38100 h 304800"/>
                <a:gd name="connsiteX9" fmla="*/ 381000 w 419100"/>
                <a:gd name="connsiteY9" fmla="*/ 266700 h 304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19100" h="304800">
                  <a:moveTo>
                    <a:pt x="419100" y="0"/>
                  </a:moveTo>
                  <a:lnTo>
                    <a:pt x="0" y="0"/>
                  </a:lnTo>
                  <a:lnTo>
                    <a:pt x="0" y="304800"/>
                  </a:lnTo>
                  <a:lnTo>
                    <a:pt x="419100" y="304800"/>
                  </a:lnTo>
                  <a:lnTo>
                    <a:pt x="419100" y="0"/>
                  </a:lnTo>
                  <a:close/>
                  <a:moveTo>
                    <a:pt x="381000" y="266700"/>
                  </a:moveTo>
                  <a:lnTo>
                    <a:pt x="38100" y="266700"/>
                  </a:lnTo>
                  <a:lnTo>
                    <a:pt x="38100" y="38100"/>
                  </a:lnTo>
                  <a:lnTo>
                    <a:pt x="381000" y="38100"/>
                  </a:lnTo>
                  <a:lnTo>
                    <a:pt x="381000" y="26670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sp>
        <p:nvSpPr>
          <p:cNvPr id="53" name="Graphic 124">
            <a:extLst>
              <a:ext uri="{FF2B5EF4-FFF2-40B4-BE49-F238E27FC236}">
                <a16:creationId xmlns:a16="http://schemas.microsoft.com/office/drawing/2014/main" id="{5A86D22D-DA6C-4C07-9F84-3245AA2E8C43}"/>
              </a:ext>
            </a:extLst>
          </p:cNvPr>
          <p:cNvSpPr>
            <a:spLocks noChangeAspect="1"/>
          </p:cNvSpPr>
          <p:nvPr/>
        </p:nvSpPr>
        <p:spPr bwMode="gray">
          <a:xfrm>
            <a:off x="6290855" y="1690525"/>
            <a:ext cx="438150" cy="457200"/>
          </a:xfrm>
          <a:custGeom>
            <a:avLst/>
            <a:gdLst>
              <a:gd name="connsiteX0" fmla="*/ 366760 w 438150"/>
              <a:gd name="connsiteY0" fmla="*/ 227562 h 457200"/>
              <a:gd name="connsiteX1" fmla="*/ 264576 w 438150"/>
              <a:gd name="connsiteY1" fmla="*/ 114300 h 457200"/>
              <a:gd name="connsiteX2" fmla="*/ 181451 w 438150"/>
              <a:gd name="connsiteY2" fmla="*/ 114300 h 457200"/>
              <a:gd name="connsiteX3" fmla="*/ 79277 w 438150"/>
              <a:gd name="connsiteY3" fmla="*/ 227562 h 457200"/>
              <a:gd name="connsiteX4" fmla="*/ 79277 w 438150"/>
              <a:gd name="connsiteY4" fmla="*/ 335966 h 457200"/>
              <a:gd name="connsiteX5" fmla="*/ 51568 w 438150"/>
              <a:gd name="connsiteY5" fmla="*/ 335966 h 457200"/>
              <a:gd name="connsiteX6" fmla="*/ 51568 w 438150"/>
              <a:gd name="connsiteY6" fmla="*/ 457200 h 457200"/>
              <a:gd name="connsiteX7" fmla="*/ 394468 w 438150"/>
              <a:gd name="connsiteY7" fmla="*/ 457200 h 457200"/>
              <a:gd name="connsiteX8" fmla="*/ 394468 w 438150"/>
              <a:gd name="connsiteY8" fmla="*/ 335966 h 457200"/>
              <a:gd name="connsiteX9" fmla="*/ 366760 w 438150"/>
              <a:gd name="connsiteY9" fmla="*/ 335966 h 457200"/>
              <a:gd name="connsiteX10" fmla="*/ 366760 w 438150"/>
              <a:gd name="connsiteY10" fmla="*/ 227562 h 457200"/>
              <a:gd name="connsiteX11" fmla="*/ 117377 w 438150"/>
              <a:gd name="connsiteY11" fmla="*/ 227562 h 457200"/>
              <a:gd name="connsiteX12" fmla="*/ 181451 w 438150"/>
              <a:gd name="connsiteY12" fmla="*/ 152400 h 457200"/>
              <a:gd name="connsiteX13" fmla="*/ 264576 w 438150"/>
              <a:gd name="connsiteY13" fmla="*/ 152400 h 457200"/>
              <a:gd name="connsiteX14" fmla="*/ 328660 w 438150"/>
              <a:gd name="connsiteY14" fmla="*/ 227562 h 457200"/>
              <a:gd name="connsiteX15" fmla="*/ 328660 w 438150"/>
              <a:gd name="connsiteY15" fmla="*/ 335966 h 457200"/>
              <a:gd name="connsiteX16" fmla="*/ 280168 w 438150"/>
              <a:gd name="connsiteY16" fmla="*/ 335966 h 457200"/>
              <a:gd name="connsiteX17" fmla="*/ 280168 w 438150"/>
              <a:gd name="connsiteY17" fmla="*/ 295275 h 457200"/>
              <a:gd name="connsiteX18" fmla="*/ 223018 w 438150"/>
              <a:gd name="connsiteY18" fmla="*/ 238125 h 457200"/>
              <a:gd name="connsiteX19" fmla="*/ 165868 w 438150"/>
              <a:gd name="connsiteY19" fmla="*/ 295275 h 457200"/>
              <a:gd name="connsiteX20" fmla="*/ 165868 w 438150"/>
              <a:gd name="connsiteY20" fmla="*/ 335966 h 457200"/>
              <a:gd name="connsiteX21" fmla="*/ 117377 w 438150"/>
              <a:gd name="connsiteY21" fmla="*/ 335966 h 457200"/>
              <a:gd name="connsiteX22" fmla="*/ 117377 w 438150"/>
              <a:gd name="connsiteY22" fmla="*/ 227562 h 457200"/>
              <a:gd name="connsiteX23" fmla="*/ 242068 w 438150"/>
              <a:gd name="connsiteY23" fmla="*/ 335966 h 457200"/>
              <a:gd name="connsiteX24" fmla="*/ 203968 w 438150"/>
              <a:gd name="connsiteY24" fmla="*/ 335966 h 457200"/>
              <a:gd name="connsiteX25" fmla="*/ 203968 w 438150"/>
              <a:gd name="connsiteY25" fmla="*/ 295275 h 457200"/>
              <a:gd name="connsiteX26" fmla="*/ 223018 w 438150"/>
              <a:gd name="connsiteY26" fmla="*/ 276225 h 457200"/>
              <a:gd name="connsiteX27" fmla="*/ 242068 w 438150"/>
              <a:gd name="connsiteY27" fmla="*/ 295275 h 457200"/>
              <a:gd name="connsiteX28" fmla="*/ 242068 w 438150"/>
              <a:gd name="connsiteY28" fmla="*/ 335966 h 457200"/>
              <a:gd name="connsiteX29" fmla="*/ 356368 w 438150"/>
              <a:gd name="connsiteY29" fmla="*/ 419100 h 457200"/>
              <a:gd name="connsiteX30" fmla="*/ 89668 w 438150"/>
              <a:gd name="connsiteY30" fmla="*/ 419100 h 457200"/>
              <a:gd name="connsiteX31" fmla="*/ 89668 w 438150"/>
              <a:gd name="connsiteY31" fmla="*/ 374066 h 457200"/>
              <a:gd name="connsiteX32" fmla="*/ 356368 w 438150"/>
              <a:gd name="connsiteY32" fmla="*/ 374066 h 457200"/>
              <a:gd name="connsiteX33" fmla="*/ 356368 w 438150"/>
              <a:gd name="connsiteY33" fmla="*/ 419100 h 457200"/>
              <a:gd name="connsiteX34" fmla="*/ 242068 w 438150"/>
              <a:gd name="connsiteY34" fmla="*/ 76200 h 457200"/>
              <a:gd name="connsiteX35" fmla="*/ 203968 w 438150"/>
              <a:gd name="connsiteY35" fmla="*/ 76200 h 457200"/>
              <a:gd name="connsiteX36" fmla="*/ 203968 w 438150"/>
              <a:gd name="connsiteY36" fmla="*/ 0 h 457200"/>
              <a:gd name="connsiteX37" fmla="*/ 242068 w 438150"/>
              <a:gd name="connsiteY37" fmla="*/ 0 h 457200"/>
              <a:gd name="connsiteX38" fmla="*/ 242068 w 438150"/>
              <a:gd name="connsiteY38" fmla="*/ 76200 h 457200"/>
              <a:gd name="connsiteX39" fmla="*/ 57150 w 438150"/>
              <a:gd name="connsiteY39" fmla="*/ 127768 h 457200"/>
              <a:gd name="connsiteX40" fmla="*/ 0 w 438150"/>
              <a:gd name="connsiteY40" fmla="*/ 70618 h 457200"/>
              <a:gd name="connsiteX41" fmla="*/ 26937 w 438150"/>
              <a:gd name="connsiteY41" fmla="*/ 43682 h 457200"/>
              <a:gd name="connsiteX42" fmla="*/ 84087 w 438150"/>
              <a:gd name="connsiteY42" fmla="*/ 100832 h 457200"/>
              <a:gd name="connsiteX43" fmla="*/ 57150 w 438150"/>
              <a:gd name="connsiteY43" fmla="*/ 127768 h 457200"/>
              <a:gd name="connsiteX44" fmla="*/ 388887 w 438150"/>
              <a:gd name="connsiteY44" fmla="*/ 127768 h 457200"/>
              <a:gd name="connsiteX45" fmla="*/ 361950 w 438150"/>
              <a:gd name="connsiteY45" fmla="*/ 100832 h 457200"/>
              <a:gd name="connsiteX46" fmla="*/ 419100 w 438150"/>
              <a:gd name="connsiteY46" fmla="*/ 43682 h 457200"/>
              <a:gd name="connsiteX47" fmla="*/ 446037 w 438150"/>
              <a:gd name="connsiteY47" fmla="*/ 70618 h 457200"/>
              <a:gd name="connsiteX48" fmla="*/ 388887 w 438150"/>
              <a:gd name="connsiteY48" fmla="*/ 127768 h 45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438150" h="457200">
                <a:moveTo>
                  <a:pt x="366760" y="227562"/>
                </a:moveTo>
                <a:cubicBezTo>
                  <a:pt x="366760" y="165106"/>
                  <a:pt x="320916" y="114300"/>
                  <a:pt x="264576" y="114300"/>
                </a:cubicBezTo>
                <a:lnTo>
                  <a:pt x="181451" y="114300"/>
                </a:lnTo>
                <a:cubicBezTo>
                  <a:pt x="125111" y="114300"/>
                  <a:pt x="79277" y="165106"/>
                  <a:pt x="79277" y="227562"/>
                </a:cubicBezTo>
                <a:lnTo>
                  <a:pt x="79277" y="335966"/>
                </a:lnTo>
                <a:lnTo>
                  <a:pt x="51568" y="335966"/>
                </a:lnTo>
                <a:lnTo>
                  <a:pt x="51568" y="457200"/>
                </a:lnTo>
                <a:lnTo>
                  <a:pt x="394468" y="457200"/>
                </a:lnTo>
                <a:lnTo>
                  <a:pt x="394468" y="335966"/>
                </a:lnTo>
                <a:lnTo>
                  <a:pt x="366760" y="335966"/>
                </a:lnTo>
                <a:lnTo>
                  <a:pt x="366760" y="227562"/>
                </a:lnTo>
                <a:close/>
                <a:moveTo>
                  <a:pt x="117377" y="227562"/>
                </a:moveTo>
                <a:cubicBezTo>
                  <a:pt x="117377" y="186119"/>
                  <a:pt x="146123" y="152400"/>
                  <a:pt x="181451" y="152400"/>
                </a:cubicBezTo>
                <a:lnTo>
                  <a:pt x="264576" y="152400"/>
                </a:lnTo>
                <a:cubicBezTo>
                  <a:pt x="299914" y="152400"/>
                  <a:pt x="328660" y="186119"/>
                  <a:pt x="328660" y="227562"/>
                </a:cubicBezTo>
                <a:lnTo>
                  <a:pt x="328660" y="335966"/>
                </a:lnTo>
                <a:lnTo>
                  <a:pt x="280168" y="335966"/>
                </a:lnTo>
                <a:lnTo>
                  <a:pt x="280168" y="295275"/>
                </a:lnTo>
                <a:cubicBezTo>
                  <a:pt x="280168" y="263757"/>
                  <a:pt x="254537" y="238125"/>
                  <a:pt x="223018" y="238125"/>
                </a:cubicBezTo>
                <a:cubicBezTo>
                  <a:pt x="191500" y="238125"/>
                  <a:pt x="165868" y="263757"/>
                  <a:pt x="165868" y="295275"/>
                </a:cubicBezTo>
                <a:lnTo>
                  <a:pt x="165868" y="335966"/>
                </a:lnTo>
                <a:lnTo>
                  <a:pt x="117377" y="335966"/>
                </a:lnTo>
                <a:lnTo>
                  <a:pt x="117377" y="227562"/>
                </a:lnTo>
                <a:close/>
                <a:moveTo>
                  <a:pt x="242068" y="335966"/>
                </a:moveTo>
                <a:lnTo>
                  <a:pt x="203968" y="335966"/>
                </a:lnTo>
                <a:lnTo>
                  <a:pt x="203968" y="295275"/>
                </a:lnTo>
                <a:cubicBezTo>
                  <a:pt x="203968" y="284769"/>
                  <a:pt x="212512" y="276225"/>
                  <a:pt x="223018" y="276225"/>
                </a:cubicBezTo>
                <a:cubicBezTo>
                  <a:pt x="233524" y="276225"/>
                  <a:pt x="242068" y="284769"/>
                  <a:pt x="242068" y="295275"/>
                </a:cubicBezTo>
                <a:lnTo>
                  <a:pt x="242068" y="335966"/>
                </a:lnTo>
                <a:close/>
                <a:moveTo>
                  <a:pt x="356368" y="419100"/>
                </a:moveTo>
                <a:lnTo>
                  <a:pt x="89668" y="419100"/>
                </a:lnTo>
                <a:lnTo>
                  <a:pt x="89668" y="374066"/>
                </a:lnTo>
                <a:lnTo>
                  <a:pt x="356368" y="374066"/>
                </a:lnTo>
                <a:lnTo>
                  <a:pt x="356368" y="419100"/>
                </a:lnTo>
                <a:close/>
                <a:moveTo>
                  <a:pt x="242068" y="76200"/>
                </a:moveTo>
                <a:lnTo>
                  <a:pt x="203968" y="76200"/>
                </a:lnTo>
                <a:lnTo>
                  <a:pt x="203968" y="0"/>
                </a:lnTo>
                <a:lnTo>
                  <a:pt x="242068" y="0"/>
                </a:lnTo>
                <a:lnTo>
                  <a:pt x="242068" y="76200"/>
                </a:lnTo>
                <a:close/>
                <a:moveTo>
                  <a:pt x="57150" y="127768"/>
                </a:moveTo>
                <a:lnTo>
                  <a:pt x="0" y="70618"/>
                </a:lnTo>
                <a:lnTo>
                  <a:pt x="26937" y="43682"/>
                </a:lnTo>
                <a:lnTo>
                  <a:pt x="84087" y="100832"/>
                </a:lnTo>
                <a:lnTo>
                  <a:pt x="57150" y="127768"/>
                </a:lnTo>
                <a:close/>
                <a:moveTo>
                  <a:pt x="388887" y="127768"/>
                </a:moveTo>
                <a:lnTo>
                  <a:pt x="361950" y="100832"/>
                </a:lnTo>
                <a:lnTo>
                  <a:pt x="419100" y="43682"/>
                </a:lnTo>
                <a:lnTo>
                  <a:pt x="446037" y="70618"/>
                </a:lnTo>
                <a:lnTo>
                  <a:pt x="388887" y="127768"/>
                </a:lnTo>
                <a:close/>
              </a:path>
            </a:pathLst>
          </a:custGeom>
          <a:solidFill>
            <a:srgbClr val="1F497D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54" name="Freeform: Shape 53">
            <a:extLst>
              <a:ext uri="{FF2B5EF4-FFF2-40B4-BE49-F238E27FC236}">
                <a16:creationId xmlns:a16="http://schemas.microsoft.com/office/drawing/2014/main" id="{3C8C4B15-3259-4387-A9B2-1D972D250C9F}"/>
              </a:ext>
            </a:extLst>
          </p:cNvPr>
          <p:cNvSpPr>
            <a:spLocks noChangeAspect="1"/>
          </p:cNvSpPr>
          <p:nvPr/>
        </p:nvSpPr>
        <p:spPr bwMode="gray">
          <a:xfrm>
            <a:off x="5242524" y="5590750"/>
            <a:ext cx="619125" cy="476250"/>
          </a:xfrm>
          <a:custGeom>
            <a:avLst/>
            <a:gdLst>
              <a:gd name="connsiteX0" fmla="*/ 502444 w 619125"/>
              <a:gd name="connsiteY0" fmla="*/ 64294 h 476250"/>
              <a:gd name="connsiteX1" fmla="*/ 332232 w 619125"/>
              <a:gd name="connsiteY1" fmla="*/ 64294 h 476250"/>
              <a:gd name="connsiteX2" fmla="*/ 332232 w 619125"/>
              <a:gd name="connsiteY2" fmla="*/ 7144 h 476250"/>
              <a:gd name="connsiteX3" fmla="*/ 294132 w 619125"/>
              <a:gd name="connsiteY3" fmla="*/ 7144 h 476250"/>
              <a:gd name="connsiteX4" fmla="*/ 294132 w 619125"/>
              <a:gd name="connsiteY4" fmla="*/ 64294 h 476250"/>
              <a:gd name="connsiteX5" fmla="*/ 121444 w 619125"/>
              <a:gd name="connsiteY5" fmla="*/ 64294 h 476250"/>
              <a:gd name="connsiteX6" fmla="*/ 7144 w 619125"/>
              <a:gd name="connsiteY6" fmla="*/ 235744 h 476250"/>
              <a:gd name="connsiteX7" fmla="*/ 121444 w 619125"/>
              <a:gd name="connsiteY7" fmla="*/ 350044 h 476250"/>
              <a:gd name="connsiteX8" fmla="*/ 235744 w 619125"/>
              <a:gd name="connsiteY8" fmla="*/ 235744 h 476250"/>
              <a:gd name="connsiteX9" fmla="*/ 146875 w 619125"/>
              <a:gd name="connsiteY9" fmla="*/ 102394 h 476250"/>
              <a:gd name="connsiteX10" fmla="*/ 294227 w 619125"/>
              <a:gd name="connsiteY10" fmla="*/ 102394 h 476250"/>
              <a:gd name="connsiteX11" fmla="*/ 294227 w 619125"/>
              <a:gd name="connsiteY11" fmla="*/ 435769 h 476250"/>
              <a:gd name="connsiteX12" fmla="*/ 121444 w 619125"/>
              <a:gd name="connsiteY12" fmla="*/ 435769 h 476250"/>
              <a:gd name="connsiteX13" fmla="*/ 121444 w 619125"/>
              <a:gd name="connsiteY13" fmla="*/ 473869 h 476250"/>
              <a:gd name="connsiteX14" fmla="*/ 502444 w 619125"/>
              <a:gd name="connsiteY14" fmla="*/ 473869 h 476250"/>
              <a:gd name="connsiteX15" fmla="*/ 502444 w 619125"/>
              <a:gd name="connsiteY15" fmla="*/ 435769 h 476250"/>
              <a:gd name="connsiteX16" fmla="*/ 332232 w 619125"/>
              <a:gd name="connsiteY16" fmla="*/ 435769 h 476250"/>
              <a:gd name="connsiteX17" fmla="*/ 332232 w 619125"/>
              <a:gd name="connsiteY17" fmla="*/ 102394 h 476250"/>
              <a:gd name="connsiteX18" fmla="*/ 477012 w 619125"/>
              <a:gd name="connsiteY18" fmla="*/ 102394 h 476250"/>
              <a:gd name="connsiteX19" fmla="*/ 388144 w 619125"/>
              <a:gd name="connsiteY19" fmla="*/ 235744 h 476250"/>
              <a:gd name="connsiteX20" fmla="*/ 502444 w 619125"/>
              <a:gd name="connsiteY20" fmla="*/ 350044 h 476250"/>
              <a:gd name="connsiteX21" fmla="*/ 616744 w 619125"/>
              <a:gd name="connsiteY21" fmla="*/ 235744 h 476250"/>
              <a:gd name="connsiteX22" fmla="*/ 502444 w 619125"/>
              <a:gd name="connsiteY22" fmla="*/ 64294 h 476250"/>
              <a:gd name="connsiteX23" fmla="*/ 121444 w 619125"/>
              <a:gd name="connsiteY23" fmla="*/ 132969 h 476250"/>
              <a:gd name="connsiteX24" fmla="*/ 189929 w 619125"/>
              <a:gd name="connsiteY24" fmla="*/ 235744 h 476250"/>
              <a:gd name="connsiteX25" fmla="*/ 52959 w 619125"/>
              <a:gd name="connsiteY25" fmla="*/ 235744 h 476250"/>
              <a:gd name="connsiteX26" fmla="*/ 121444 w 619125"/>
              <a:gd name="connsiteY26" fmla="*/ 132969 h 476250"/>
              <a:gd name="connsiteX27" fmla="*/ 121444 w 619125"/>
              <a:gd name="connsiteY27" fmla="*/ 311944 h 476250"/>
              <a:gd name="connsiteX28" fmla="*/ 55531 w 619125"/>
              <a:gd name="connsiteY28" fmla="*/ 273844 h 476250"/>
              <a:gd name="connsiteX29" fmla="*/ 187357 w 619125"/>
              <a:gd name="connsiteY29" fmla="*/ 273844 h 476250"/>
              <a:gd name="connsiteX30" fmla="*/ 121444 w 619125"/>
              <a:gd name="connsiteY30" fmla="*/ 311944 h 476250"/>
              <a:gd name="connsiteX31" fmla="*/ 570929 w 619125"/>
              <a:gd name="connsiteY31" fmla="*/ 235744 h 476250"/>
              <a:gd name="connsiteX32" fmla="*/ 433864 w 619125"/>
              <a:gd name="connsiteY32" fmla="*/ 235744 h 476250"/>
              <a:gd name="connsiteX33" fmla="*/ 502444 w 619125"/>
              <a:gd name="connsiteY33" fmla="*/ 132969 h 476250"/>
              <a:gd name="connsiteX34" fmla="*/ 570929 w 619125"/>
              <a:gd name="connsiteY34" fmla="*/ 235744 h 476250"/>
              <a:gd name="connsiteX35" fmla="*/ 502444 w 619125"/>
              <a:gd name="connsiteY35" fmla="*/ 311944 h 476250"/>
              <a:gd name="connsiteX36" fmla="*/ 436531 w 619125"/>
              <a:gd name="connsiteY36" fmla="*/ 273844 h 476250"/>
              <a:gd name="connsiteX37" fmla="*/ 568357 w 619125"/>
              <a:gd name="connsiteY37" fmla="*/ 273844 h 476250"/>
              <a:gd name="connsiteX38" fmla="*/ 502444 w 619125"/>
              <a:gd name="connsiteY38" fmla="*/ 311944 h 476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</a:cxnLst>
            <a:rect l="l" t="t" r="r" b="b"/>
            <a:pathLst>
              <a:path w="619125" h="476250">
                <a:moveTo>
                  <a:pt x="502444" y="64294"/>
                </a:moveTo>
                <a:lnTo>
                  <a:pt x="332232" y="64294"/>
                </a:lnTo>
                <a:lnTo>
                  <a:pt x="332232" y="7144"/>
                </a:lnTo>
                <a:lnTo>
                  <a:pt x="294132" y="7144"/>
                </a:lnTo>
                <a:lnTo>
                  <a:pt x="294132" y="64294"/>
                </a:lnTo>
                <a:lnTo>
                  <a:pt x="121444" y="64294"/>
                </a:lnTo>
                <a:lnTo>
                  <a:pt x="7144" y="235744"/>
                </a:lnTo>
                <a:cubicBezTo>
                  <a:pt x="7144" y="298895"/>
                  <a:pt x="58293" y="350044"/>
                  <a:pt x="121444" y="350044"/>
                </a:cubicBezTo>
                <a:cubicBezTo>
                  <a:pt x="184594" y="350044"/>
                  <a:pt x="235744" y="298895"/>
                  <a:pt x="235744" y="235744"/>
                </a:cubicBezTo>
                <a:lnTo>
                  <a:pt x="146875" y="102394"/>
                </a:lnTo>
                <a:lnTo>
                  <a:pt x="294227" y="102394"/>
                </a:lnTo>
                <a:lnTo>
                  <a:pt x="294227" y="435769"/>
                </a:lnTo>
                <a:lnTo>
                  <a:pt x="121444" y="435769"/>
                </a:lnTo>
                <a:lnTo>
                  <a:pt x="121444" y="473869"/>
                </a:lnTo>
                <a:lnTo>
                  <a:pt x="502444" y="473869"/>
                </a:lnTo>
                <a:lnTo>
                  <a:pt x="502444" y="435769"/>
                </a:lnTo>
                <a:lnTo>
                  <a:pt x="332232" y="435769"/>
                </a:lnTo>
                <a:lnTo>
                  <a:pt x="332232" y="102394"/>
                </a:lnTo>
                <a:lnTo>
                  <a:pt x="477012" y="102394"/>
                </a:lnTo>
                <a:lnTo>
                  <a:pt x="388144" y="235744"/>
                </a:lnTo>
                <a:cubicBezTo>
                  <a:pt x="388144" y="298895"/>
                  <a:pt x="439293" y="350044"/>
                  <a:pt x="502444" y="350044"/>
                </a:cubicBezTo>
                <a:cubicBezTo>
                  <a:pt x="565595" y="350044"/>
                  <a:pt x="616744" y="298895"/>
                  <a:pt x="616744" y="235744"/>
                </a:cubicBezTo>
                <a:lnTo>
                  <a:pt x="502444" y="64294"/>
                </a:lnTo>
                <a:close/>
                <a:moveTo>
                  <a:pt x="121444" y="132969"/>
                </a:moveTo>
                <a:lnTo>
                  <a:pt x="189929" y="235744"/>
                </a:lnTo>
                <a:lnTo>
                  <a:pt x="52959" y="235744"/>
                </a:lnTo>
                <a:lnTo>
                  <a:pt x="121444" y="132969"/>
                </a:lnTo>
                <a:close/>
                <a:moveTo>
                  <a:pt x="121444" y="311944"/>
                </a:moveTo>
                <a:cubicBezTo>
                  <a:pt x="93345" y="311944"/>
                  <a:pt x="68771" y="296609"/>
                  <a:pt x="55531" y="273844"/>
                </a:cubicBezTo>
                <a:lnTo>
                  <a:pt x="187357" y="273844"/>
                </a:lnTo>
                <a:cubicBezTo>
                  <a:pt x="174117" y="296609"/>
                  <a:pt x="149542" y="311944"/>
                  <a:pt x="121444" y="311944"/>
                </a:cubicBezTo>
                <a:close/>
                <a:moveTo>
                  <a:pt x="570929" y="235744"/>
                </a:moveTo>
                <a:lnTo>
                  <a:pt x="433864" y="235744"/>
                </a:lnTo>
                <a:lnTo>
                  <a:pt x="502444" y="132969"/>
                </a:lnTo>
                <a:lnTo>
                  <a:pt x="570929" y="235744"/>
                </a:lnTo>
                <a:close/>
                <a:moveTo>
                  <a:pt x="502444" y="311944"/>
                </a:moveTo>
                <a:cubicBezTo>
                  <a:pt x="474345" y="311944"/>
                  <a:pt x="449771" y="296609"/>
                  <a:pt x="436531" y="273844"/>
                </a:cubicBezTo>
                <a:lnTo>
                  <a:pt x="568357" y="273844"/>
                </a:lnTo>
                <a:cubicBezTo>
                  <a:pt x="555117" y="296609"/>
                  <a:pt x="530543" y="311944"/>
                  <a:pt x="502444" y="311944"/>
                </a:cubicBezTo>
                <a:close/>
              </a:path>
            </a:pathLst>
          </a:custGeom>
          <a:solidFill>
            <a:srgbClr val="1F497D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84B9ABA-29BA-4A80-8A3D-34701195C95C}"/>
              </a:ext>
            </a:extLst>
          </p:cNvPr>
          <p:cNvSpPr txBox="1"/>
          <p:nvPr/>
        </p:nvSpPr>
        <p:spPr>
          <a:xfrm>
            <a:off x="6216039" y="6225478"/>
            <a:ext cx="417216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i="1" dirty="0">
                <a:latin typeface="Gill Sans MT" panose="020B0502020104020203" pitchFamily="34" charset="0"/>
              </a:rPr>
              <a:t>* Note: The next slide contains additional details.</a:t>
            </a:r>
            <a:endParaRPr lang="en-US" sz="1600" i="1" dirty="0"/>
          </a:p>
        </p:txBody>
      </p:sp>
    </p:spTree>
    <p:extLst>
      <p:ext uri="{BB962C8B-B14F-4D97-AF65-F5344CB8AC3E}">
        <p14:creationId xmlns:p14="http://schemas.microsoft.com/office/powerpoint/2010/main" val="74047767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722D44-82E3-4178-9B0F-4FE723404B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Analytics Platform Updates and Next Steps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7862A8D-7D2B-4886-AAEE-26CD206FD6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EC0874-97F8-4ECC-A4D3-AE3F79FF2CF7}" type="datetime1">
              <a:rPr lang="en-US" smtClean="0"/>
              <a:t>4/1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0D68E56-9A22-4613-B5F5-E1E53A48A4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AFT FOR POLICY AND PROGRAM DEVELOPMENT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1A0FFB5-A3EA-45C3-BC0F-E794098E90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239AC-B64B-47D9-9A99-24B0D39D1C15}" type="slidenum">
              <a:rPr lang="en-US" smtClean="0"/>
              <a:t>5</a:t>
            </a:fld>
            <a:endParaRPr lang="en-US" dirty="0"/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DEB5817E-EA4C-4C41-9BC3-DECDDC5C09E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69452339"/>
              </p:ext>
            </p:extLst>
          </p:nvPr>
        </p:nvGraphicFramePr>
        <p:xfrm>
          <a:off x="6237288" y="1496238"/>
          <a:ext cx="5497513" cy="465976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9751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700670">
                <a:tc>
                  <a:txBody>
                    <a:bodyPr/>
                    <a:lstStyle/>
                    <a:p>
                      <a:pPr marL="0" marR="0" lvl="0" indent="0" algn="ctr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2000" b="1" dirty="0">
                          <a:solidFill>
                            <a:schemeClr val="bg1"/>
                          </a:solidFill>
                          <a:latin typeface="Gill Sans MT" panose="020B0502020104020203" pitchFamily="34" charset="0"/>
                        </a:rPr>
                        <a:t>Immediate Next Steps</a:t>
                      </a:r>
                    </a:p>
                  </a:txBody>
                  <a:tcPr marB="91440" anchor="b">
                    <a:solidFill>
                      <a:srgbClr val="1F497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959093">
                <a:tc>
                  <a:txBody>
                    <a:bodyPr/>
                    <a:lstStyle/>
                    <a:p>
                      <a:pPr marL="344488" lvl="1" indent="-228600" algn="l" defTabSz="1218987" rtl="0" eaLnBrk="1" latinLnBrk="0" hangingPunct="1"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rgbClr val="1F497D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US" altLang="ko-KR" sz="1800" kern="1200" dirty="0">
                          <a:solidFill>
                            <a:schemeClr val="dk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Network connectivity for all edge sites</a:t>
                      </a:r>
                    </a:p>
                    <a:p>
                      <a:pPr marL="344488" lvl="1" indent="-228600" algn="l" defTabSz="1218987" rtl="0" eaLnBrk="1" latinLnBrk="0" hangingPunct="1"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rgbClr val="1F497D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US" altLang="ko-KR" sz="1800" kern="1200" dirty="0">
                          <a:solidFill>
                            <a:schemeClr val="dk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Data ingestion</a:t>
                      </a:r>
                    </a:p>
                    <a:p>
                      <a:pPr marL="344488" lvl="1" indent="-228600" algn="l" defTabSz="1218987" rtl="0" eaLnBrk="1" latinLnBrk="0" hangingPunct="1"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rgbClr val="1F497D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US" altLang="ko-KR" sz="1800" kern="1200" dirty="0">
                          <a:solidFill>
                            <a:schemeClr val="dk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Testing initial ingests</a:t>
                      </a:r>
                    </a:p>
                    <a:p>
                      <a:pPr marL="344488" lvl="1" indent="-228600" algn="l" defTabSz="1218987" rtl="0" eaLnBrk="1" latinLnBrk="0" hangingPunct="1"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rgbClr val="1F497D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US" altLang="ko-KR" sz="1800" kern="1200" dirty="0">
                          <a:solidFill>
                            <a:schemeClr val="dk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Initial dashboard testing and validation</a:t>
                      </a:r>
                    </a:p>
                    <a:p>
                      <a:pPr marL="344488" lvl="1" indent="-228600" algn="l" defTabSz="1218987" rtl="0" eaLnBrk="1" latinLnBrk="0" hangingPunct="1"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rgbClr val="1F497D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US" altLang="ko-KR" sz="1800" kern="1200" dirty="0">
                          <a:solidFill>
                            <a:schemeClr val="dk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Custodial agency </a:t>
                      </a:r>
                      <a:r>
                        <a:rPr lang="en-US" altLang="ko-KR" sz="1800" kern="1200">
                          <a:solidFill>
                            <a:schemeClr val="dk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public-facing dashboards</a:t>
                      </a:r>
                      <a:endParaRPr lang="en-US" altLang="ko-KR" sz="1800" kern="1200" dirty="0">
                        <a:solidFill>
                          <a:schemeClr val="dk1"/>
                        </a:solidFill>
                        <a:latin typeface="Gill Sans MT" panose="020B0502020104020203" pitchFamily="34" charset="0"/>
                        <a:ea typeface="+mn-ea"/>
                        <a:cs typeface="+mn-cs"/>
                      </a:endParaRPr>
                    </a:p>
                  </a:txBody>
                  <a:tcPr marT="182880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18A89C38-2827-4081-AE4E-8C2056DBF3A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94702694"/>
              </p:ext>
            </p:extLst>
          </p:nvPr>
        </p:nvGraphicFramePr>
        <p:xfrm>
          <a:off x="460375" y="1496238"/>
          <a:ext cx="5497513" cy="465976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9751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700670">
                <a:tc>
                  <a:txBody>
                    <a:bodyPr/>
                    <a:lstStyle/>
                    <a:p>
                      <a:pPr marL="0" marR="0" lvl="0" indent="0" algn="ctr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2000" b="1" kern="1200" dirty="0">
                          <a:solidFill>
                            <a:schemeClr val="bg1"/>
                          </a:solidFill>
                          <a:latin typeface="Gill Sans MT" panose="020B0502020104020203" pitchFamily="34" charset="0"/>
                          <a:ea typeface="+mn-ea"/>
                          <a:cs typeface="+mn-cs"/>
                        </a:rPr>
                        <a:t>Completed Activities</a:t>
                      </a:r>
                    </a:p>
                  </a:txBody>
                  <a:tcPr marB="91440" anchor="b">
                    <a:solidFill>
                      <a:srgbClr val="1F497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959093">
                <a:tc>
                  <a:txBody>
                    <a:bodyPr/>
                    <a:lstStyle/>
                    <a:p>
                      <a:pPr marL="344488" lvl="1" indent="-228600"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rgbClr val="1F497D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US" altLang="ko-KR" sz="1800" dirty="0">
                          <a:latin typeface="Gill Sans MT" panose="020B0502020104020203" pitchFamily="34" charset="0"/>
                        </a:rPr>
                        <a:t>20 Agencies signed Data Use License Agreement</a:t>
                      </a:r>
                    </a:p>
                    <a:p>
                      <a:pPr marL="344488" lvl="1" indent="-228600"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rgbClr val="1F497D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US" altLang="ko-KR" sz="1800" dirty="0">
                          <a:latin typeface="Gill Sans MT" panose="020B0502020104020203" pitchFamily="34" charset="0"/>
                        </a:rPr>
                        <a:t>Vendor </a:t>
                      </a:r>
                      <a:r>
                        <a:rPr lang="en-US" altLang="ko-KR" sz="1800" dirty="0" err="1">
                          <a:latin typeface="Gill Sans MT" panose="020B0502020104020203" pitchFamily="34" charset="0"/>
                        </a:rPr>
                        <a:t>SOWs</a:t>
                      </a:r>
                      <a:r>
                        <a:rPr lang="en-US" altLang="ko-KR" sz="1800" dirty="0">
                          <a:latin typeface="Gill Sans MT" panose="020B0502020104020203" pitchFamily="34" charset="0"/>
                        </a:rPr>
                        <a:t> complete with Google and </a:t>
                      </a:r>
                      <a:r>
                        <a:rPr lang="en-US" altLang="ko-KR" sz="1800" dirty="0" err="1">
                          <a:latin typeface="Gill Sans MT" panose="020B0502020104020203" pitchFamily="34" charset="0"/>
                        </a:rPr>
                        <a:t>SpringML</a:t>
                      </a:r>
                      <a:r>
                        <a:rPr lang="en-US" altLang="ko-KR" sz="1800" dirty="0">
                          <a:latin typeface="Gill Sans MT" panose="020B0502020104020203" pitchFamily="34" charset="0"/>
                        </a:rPr>
                        <a:t> to build and populate the platform</a:t>
                      </a:r>
                    </a:p>
                    <a:p>
                      <a:pPr marL="344488" lvl="1" indent="-228600"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rgbClr val="1F497D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US" altLang="ko-KR" sz="1800" dirty="0">
                          <a:latin typeface="Gill Sans MT" panose="020B0502020104020203" pitchFamily="34" charset="0"/>
                        </a:rPr>
                        <a:t>Vendor On Boarding: </a:t>
                      </a:r>
                      <a:r>
                        <a:rPr lang="en-US" altLang="ko-KR" sz="1800" dirty="0" err="1">
                          <a:latin typeface="Gill Sans MT" panose="020B0502020104020203" pitchFamily="34" charset="0"/>
                        </a:rPr>
                        <a:t>CJIS</a:t>
                      </a:r>
                      <a:r>
                        <a:rPr lang="en-US" altLang="ko-KR" sz="1800" dirty="0">
                          <a:latin typeface="Gill Sans MT" panose="020B0502020104020203" pitchFamily="34" charset="0"/>
                        </a:rPr>
                        <a:t> compliance and training</a:t>
                      </a:r>
                    </a:p>
                    <a:p>
                      <a:pPr marL="344488" lvl="1" indent="-228600"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rgbClr val="1F497D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US" altLang="ko-KR" sz="1800" dirty="0">
                          <a:latin typeface="Gill Sans MT" panose="020B0502020104020203" pitchFamily="34" charset="0"/>
                        </a:rPr>
                        <a:t>Readiness sessions with all sheriffs, DOC, Trial Court, and MSP</a:t>
                      </a:r>
                    </a:p>
                    <a:p>
                      <a:pPr marL="344488" lvl="1" indent="-228600"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rgbClr val="1F497D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US" altLang="ko-KR" sz="1800" dirty="0">
                          <a:latin typeface="Gill Sans MT" panose="020B0502020104020203" pitchFamily="34" charset="0"/>
                        </a:rPr>
                        <a:t>Continued development of technical environment</a:t>
                      </a:r>
                    </a:p>
                    <a:p>
                      <a:pPr marL="569913" lvl="2" indent="-225425"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rgbClr val="1F497D"/>
                        </a:buClr>
                        <a:buFont typeface="Gill Sans MT" panose="020B0502020104020203" pitchFamily="34" charset="0"/>
                        <a:buChar char="–"/>
                      </a:pPr>
                      <a:r>
                        <a:rPr lang="en-US" altLang="ko-KR" sz="1800" dirty="0">
                          <a:latin typeface="Gill Sans MT" panose="020B0502020104020203" pitchFamily="34" charset="0"/>
                        </a:rPr>
                        <a:t>Data staging</a:t>
                      </a:r>
                    </a:p>
                    <a:p>
                      <a:pPr marL="569913" lvl="2" indent="-225425"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rgbClr val="1F497D"/>
                        </a:buClr>
                        <a:buFont typeface="Gill Sans MT" panose="020B0502020104020203" pitchFamily="34" charset="0"/>
                        <a:buChar char="–"/>
                      </a:pPr>
                      <a:r>
                        <a:rPr lang="en-US" altLang="ko-KR" sz="1800" dirty="0">
                          <a:latin typeface="Gill Sans MT" panose="020B0502020104020203" pitchFamily="34" charset="0"/>
                        </a:rPr>
                        <a:t>Google Cloud Platform establishment</a:t>
                      </a:r>
                    </a:p>
                    <a:p>
                      <a:pPr marL="287338" lvl="1" indent="-171450"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panose="05000000000000000000" pitchFamily="2" charset="2"/>
                        <a:buChar char="§"/>
                      </a:pPr>
                      <a:endParaRPr lang="en-US" sz="1600" dirty="0">
                        <a:latin typeface="Gill Sans MT" panose="020B0502020104020203" pitchFamily="34" charset="0"/>
                      </a:endParaRPr>
                    </a:p>
                  </a:txBody>
                  <a:tcPr marT="182880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F06C613E-56E5-4783-B93A-FFD7448B3C9B}"/>
              </a:ext>
            </a:extLst>
          </p:cNvPr>
          <p:cNvSpPr/>
          <p:nvPr/>
        </p:nvSpPr>
        <p:spPr bwMode="gray">
          <a:xfrm>
            <a:off x="8691404" y="1111618"/>
            <a:ext cx="589280" cy="589280"/>
          </a:xfrm>
          <a:prstGeom prst="rect">
            <a:avLst/>
          </a:prstGeom>
          <a:solidFill>
            <a:srgbClr val="1F497D"/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9D96459-C763-4ED5-87F7-D5DEA19ED513}"/>
              </a:ext>
            </a:extLst>
          </p:cNvPr>
          <p:cNvSpPr/>
          <p:nvPr/>
        </p:nvSpPr>
        <p:spPr bwMode="gray">
          <a:xfrm>
            <a:off x="2914491" y="1111618"/>
            <a:ext cx="589280" cy="589280"/>
          </a:xfrm>
          <a:prstGeom prst="rect">
            <a:avLst/>
          </a:prstGeom>
          <a:solidFill>
            <a:srgbClr val="1F497D"/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dirty="0"/>
          </a:p>
        </p:txBody>
      </p:sp>
      <p:sp>
        <p:nvSpPr>
          <p:cNvPr id="17" name="Freeform 14">
            <a:extLst>
              <a:ext uri="{FF2B5EF4-FFF2-40B4-BE49-F238E27FC236}">
                <a16:creationId xmlns:a16="http://schemas.microsoft.com/office/drawing/2014/main" id="{24D4E792-DF34-4B91-ADFA-90151D76C51D}"/>
              </a:ext>
            </a:extLst>
          </p:cNvPr>
          <p:cNvSpPr>
            <a:spLocks noChangeAspect="1"/>
          </p:cNvSpPr>
          <p:nvPr/>
        </p:nvSpPr>
        <p:spPr bwMode="gray">
          <a:xfrm>
            <a:off x="3010693" y="1252051"/>
            <a:ext cx="396875" cy="312738"/>
          </a:xfrm>
          <a:custGeom>
            <a:avLst/>
            <a:gdLst>
              <a:gd name="T0" fmla="*/ 250 w 250"/>
              <a:gd name="T1" fmla="*/ 15 h 197"/>
              <a:gd name="T2" fmla="*/ 99 w 250"/>
              <a:gd name="T3" fmla="*/ 197 h 197"/>
              <a:gd name="T4" fmla="*/ 0 w 250"/>
              <a:gd name="T5" fmla="*/ 114 h 197"/>
              <a:gd name="T6" fmla="*/ 13 w 250"/>
              <a:gd name="T7" fmla="*/ 97 h 197"/>
              <a:gd name="T8" fmla="*/ 96 w 250"/>
              <a:gd name="T9" fmla="*/ 166 h 197"/>
              <a:gd name="T10" fmla="*/ 234 w 250"/>
              <a:gd name="T11" fmla="*/ 0 h 197"/>
              <a:gd name="T12" fmla="*/ 250 w 250"/>
              <a:gd name="T13" fmla="*/ 15 h 1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50" h="197">
                <a:moveTo>
                  <a:pt x="250" y="15"/>
                </a:moveTo>
                <a:lnTo>
                  <a:pt x="99" y="197"/>
                </a:lnTo>
                <a:lnTo>
                  <a:pt x="0" y="114"/>
                </a:lnTo>
                <a:lnTo>
                  <a:pt x="13" y="97"/>
                </a:lnTo>
                <a:lnTo>
                  <a:pt x="96" y="166"/>
                </a:lnTo>
                <a:lnTo>
                  <a:pt x="234" y="0"/>
                </a:lnTo>
                <a:lnTo>
                  <a:pt x="250" y="1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DCE84E24-644F-4987-A95D-309D12A616D5}"/>
              </a:ext>
            </a:extLst>
          </p:cNvPr>
          <p:cNvSpPr>
            <a:spLocks noChangeAspect="1"/>
          </p:cNvSpPr>
          <p:nvPr/>
        </p:nvSpPr>
        <p:spPr bwMode="gray">
          <a:xfrm>
            <a:off x="8823333" y="1211653"/>
            <a:ext cx="325422" cy="393534"/>
          </a:xfrm>
          <a:custGeom>
            <a:avLst/>
            <a:gdLst>
              <a:gd name="connsiteX0" fmla="*/ 50768 w 409575"/>
              <a:gd name="connsiteY0" fmla="*/ 134779 h 495300"/>
              <a:gd name="connsiteX1" fmla="*/ 84963 w 409575"/>
              <a:gd name="connsiteY1" fmla="*/ 100584 h 495300"/>
              <a:gd name="connsiteX2" fmla="*/ 50768 w 409575"/>
              <a:gd name="connsiteY2" fmla="*/ 66389 h 495300"/>
              <a:gd name="connsiteX3" fmla="*/ 77724 w 409575"/>
              <a:gd name="connsiteY3" fmla="*/ 39434 h 495300"/>
              <a:gd name="connsiteX4" fmla="*/ 111919 w 409575"/>
              <a:gd name="connsiteY4" fmla="*/ 73628 h 495300"/>
              <a:gd name="connsiteX5" fmla="*/ 146113 w 409575"/>
              <a:gd name="connsiteY5" fmla="*/ 39434 h 495300"/>
              <a:gd name="connsiteX6" fmla="*/ 173069 w 409575"/>
              <a:gd name="connsiteY6" fmla="*/ 66389 h 495300"/>
              <a:gd name="connsiteX7" fmla="*/ 138874 w 409575"/>
              <a:gd name="connsiteY7" fmla="*/ 100584 h 495300"/>
              <a:gd name="connsiteX8" fmla="*/ 173069 w 409575"/>
              <a:gd name="connsiteY8" fmla="*/ 134779 h 495300"/>
              <a:gd name="connsiteX9" fmla="*/ 146113 w 409575"/>
              <a:gd name="connsiteY9" fmla="*/ 161735 h 495300"/>
              <a:gd name="connsiteX10" fmla="*/ 111919 w 409575"/>
              <a:gd name="connsiteY10" fmla="*/ 127540 h 495300"/>
              <a:gd name="connsiteX11" fmla="*/ 77724 w 409575"/>
              <a:gd name="connsiteY11" fmla="*/ 161735 h 495300"/>
              <a:gd name="connsiteX12" fmla="*/ 50768 w 409575"/>
              <a:gd name="connsiteY12" fmla="*/ 134779 h 495300"/>
              <a:gd name="connsiteX13" fmla="*/ 411099 w 409575"/>
              <a:gd name="connsiteY13" fmla="*/ 87154 h 495300"/>
              <a:gd name="connsiteX14" fmla="*/ 384143 w 409575"/>
              <a:gd name="connsiteY14" fmla="*/ 114110 h 495300"/>
              <a:gd name="connsiteX15" fmla="*/ 349377 w 409575"/>
              <a:gd name="connsiteY15" fmla="*/ 79343 h 495300"/>
              <a:gd name="connsiteX16" fmla="*/ 349377 w 409575"/>
              <a:gd name="connsiteY16" fmla="*/ 268224 h 495300"/>
              <a:gd name="connsiteX17" fmla="*/ 91821 w 409575"/>
              <a:gd name="connsiteY17" fmla="*/ 268224 h 495300"/>
              <a:gd name="connsiteX18" fmla="*/ 92678 w 409575"/>
              <a:gd name="connsiteY18" fmla="*/ 360521 h 495300"/>
              <a:gd name="connsiteX19" fmla="*/ 140494 w 409575"/>
              <a:gd name="connsiteY19" fmla="*/ 424434 h 495300"/>
              <a:gd name="connsiteX20" fmla="*/ 73819 w 409575"/>
              <a:gd name="connsiteY20" fmla="*/ 491109 h 495300"/>
              <a:gd name="connsiteX21" fmla="*/ 7144 w 409575"/>
              <a:gd name="connsiteY21" fmla="*/ 424434 h 495300"/>
              <a:gd name="connsiteX22" fmla="*/ 54578 w 409575"/>
              <a:gd name="connsiteY22" fmla="*/ 360617 h 495300"/>
              <a:gd name="connsiteX23" fmla="*/ 53340 w 409575"/>
              <a:gd name="connsiteY23" fmla="*/ 230124 h 495300"/>
              <a:gd name="connsiteX24" fmla="*/ 311277 w 409575"/>
              <a:gd name="connsiteY24" fmla="*/ 230124 h 495300"/>
              <a:gd name="connsiteX25" fmla="*/ 311277 w 409575"/>
              <a:gd name="connsiteY25" fmla="*/ 81058 h 495300"/>
              <a:gd name="connsiteX26" fmla="*/ 278321 w 409575"/>
              <a:gd name="connsiteY26" fmla="*/ 114014 h 495300"/>
              <a:gd name="connsiteX27" fmla="*/ 251365 w 409575"/>
              <a:gd name="connsiteY27" fmla="*/ 87059 h 495300"/>
              <a:gd name="connsiteX28" fmla="*/ 331184 w 409575"/>
              <a:gd name="connsiteY28" fmla="*/ 7144 h 495300"/>
              <a:gd name="connsiteX29" fmla="*/ 411099 w 409575"/>
              <a:gd name="connsiteY29" fmla="*/ 87154 h 495300"/>
              <a:gd name="connsiteX30" fmla="*/ 73819 w 409575"/>
              <a:gd name="connsiteY30" fmla="*/ 395859 h 495300"/>
              <a:gd name="connsiteX31" fmla="*/ 45244 w 409575"/>
              <a:gd name="connsiteY31" fmla="*/ 424434 h 495300"/>
              <a:gd name="connsiteX32" fmla="*/ 73819 w 409575"/>
              <a:gd name="connsiteY32" fmla="*/ 453009 h 495300"/>
              <a:gd name="connsiteX33" fmla="*/ 102394 w 409575"/>
              <a:gd name="connsiteY33" fmla="*/ 424434 h 495300"/>
              <a:gd name="connsiteX34" fmla="*/ 73819 w 409575"/>
              <a:gd name="connsiteY34" fmla="*/ 395859 h 495300"/>
              <a:gd name="connsiteX35" fmla="*/ 327565 w 409575"/>
              <a:gd name="connsiteY35" fmla="*/ 344329 h 495300"/>
              <a:gd name="connsiteX36" fmla="*/ 293370 w 409575"/>
              <a:gd name="connsiteY36" fmla="*/ 378524 h 495300"/>
              <a:gd name="connsiteX37" fmla="*/ 259175 w 409575"/>
              <a:gd name="connsiteY37" fmla="*/ 344329 h 495300"/>
              <a:gd name="connsiteX38" fmla="*/ 232220 w 409575"/>
              <a:gd name="connsiteY38" fmla="*/ 371285 h 495300"/>
              <a:gd name="connsiteX39" fmla="*/ 266414 w 409575"/>
              <a:gd name="connsiteY39" fmla="*/ 405479 h 495300"/>
              <a:gd name="connsiteX40" fmla="*/ 232220 w 409575"/>
              <a:gd name="connsiteY40" fmla="*/ 439674 h 495300"/>
              <a:gd name="connsiteX41" fmla="*/ 259175 w 409575"/>
              <a:gd name="connsiteY41" fmla="*/ 466630 h 495300"/>
              <a:gd name="connsiteX42" fmla="*/ 293370 w 409575"/>
              <a:gd name="connsiteY42" fmla="*/ 432435 h 495300"/>
              <a:gd name="connsiteX43" fmla="*/ 327565 w 409575"/>
              <a:gd name="connsiteY43" fmla="*/ 466630 h 495300"/>
              <a:gd name="connsiteX44" fmla="*/ 354521 w 409575"/>
              <a:gd name="connsiteY44" fmla="*/ 439674 h 495300"/>
              <a:gd name="connsiteX45" fmla="*/ 320326 w 409575"/>
              <a:gd name="connsiteY45" fmla="*/ 405479 h 495300"/>
              <a:gd name="connsiteX46" fmla="*/ 354521 w 409575"/>
              <a:gd name="connsiteY46" fmla="*/ 371285 h 495300"/>
              <a:gd name="connsiteX47" fmla="*/ 327565 w 409575"/>
              <a:gd name="connsiteY47" fmla="*/ 344329 h 495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409575" h="495300">
                <a:moveTo>
                  <a:pt x="50768" y="134779"/>
                </a:moveTo>
                <a:lnTo>
                  <a:pt x="84963" y="100584"/>
                </a:lnTo>
                <a:lnTo>
                  <a:pt x="50768" y="66389"/>
                </a:lnTo>
                <a:lnTo>
                  <a:pt x="77724" y="39434"/>
                </a:lnTo>
                <a:lnTo>
                  <a:pt x="111919" y="73628"/>
                </a:lnTo>
                <a:lnTo>
                  <a:pt x="146113" y="39434"/>
                </a:lnTo>
                <a:lnTo>
                  <a:pt x="173069" y="66389"/>
                </a:lnTo>
                <a:lnTo>
                  <a:pt x="138874" y="100584"/>
                </a:lnTo>
                <a:lnTo>
                  <a:pt x="173069" y="134779"/>
                </a:lnTo>
                <a:lnTo>
                  <a:pt x="146113" y="161735"/>
                </a:lnTo>
                <a:lnTo>
                  <a:pt x="111919" y="127540"/>
                </a:lnTo>
                <a:lnTo>
                  <a:pt x="77724" y="161735"/>
                </a:lnTo>
                <a:lnTo>
                  <a:pt x="50768" y="134779"/>
                </a:lnTo>
                <a:close/>
                <a:moveTo>
                  <a:pt x="411099" y="87154"/>
                </a:moveTo>
                <a:lnTo>
                  <a:pt x="384143" y="114110"/>
                </a:lnTo>
                <a:lnTo>
                  <a:pt x="349377" y="79343"/>
                </a:lnTo>
                <a:lnTo>
                  <a:pt x="349377" y="268224"/>
                </a:lnTo>
                <a:lnTo>
                  <a:pt x="91821" y="268224"/>
                </a:lnTo>
                <a:lnTo>
                  <a:pt x="92678" y="360521"/>
                </a:lnTo>
                <a:cubicBezTo>
                  <a:pt x="120301" y="368713"/>
                  <a:pt x="140494" y="394240"/>
                  <a:pt x="140494" y="424434"/>
                </a:cubicBezTo>
                <a:cubicBezTo>
                  <a:pt x="140494" y="461201"/>
                  <a:pt x="110585" y="491109"/>
                  <a:pt x="73819" y="491109"/>
                </a:cubicBezTo>
                <a:cubicBezTo>
                  <a:pt x="37052" y="491109"/>
                  <a:pt x="7144" y="461201"/>
                  <a:pt x="7144" y="424434"/>
                </a:cubicBezTo>
                <a:cubicBezTo>
                  <a:pt x="7144" y="394335"/>
                  <a:pt x="27146" y="368903"/>
                  <a:pt x="54578" y="360617"/>
                </a:cubicBezTo>
                <a:lnTo>
                  <a:pt x="53340" y="230124"/>
                </a:lnTo>
                <a:lnTo>
                  <a:pt x="311277" y="230124"/>
                </a:lnTo>
                <a:lnTo>
                  <a:pt x="311277" y="81058"/>
                </a:lnTo>
                <a:lnTo>
                  <a:pt x="278321" y="114014"/>
                </a:lnTo>
                <a:lnTo>
                  <a:pt x="251365" y="87059"/>
                </a:lnTo>
                <a:lnTo>
                  <a:pt x="331184" y="7144"/>
                </a:lnTo>
                <a:lnTo>
                  <a:pt x="411099" y="87154"/>
                </a:lnTo>
                <a:close/>
                <a:moveTo>
                  <a:pt x="73819" y="395859"/>
                </a:moveTo>
                <a:cubicBezTo>
                  <a:pt x="58103" y="395859"/>
                  <a:pt x="45244" y="408718"/>
                  <a:pt x="45244" y="424434"/>
                </a:cubicBezTo>
                <a:cubicBezTo>
                  <a:pt x="45244" y="440150"/>
                  <a:pt x="58103" y="453009"/>
                  <a:pt x="73819" y="453009"/>
                </a:cubicBezTo>
                <a:cubicBezTo>
                  <a:pt x="89535" y="453009"/>
                  <a:pt x="102394" y="440150"/>
                  <a:pt x="102394" y="424434"/>
                </a:cubicBezTo>
                <a:cubicBezTo>
                  <a:pt x="102394" y="408718"/>
                  <a:pt x="89535" y="395859"/>
                  <a:pt x="73819" y="395859"/>
                </a:cubicBezTo>
                <a:close/>
                <a:moveTo>
                  <a:pt x="327565" y="344329"/>
                </a:moveTo>
                <a:lnTo>
                  <a:pt x="293370" y="378524"/>
                </a:lnTo>
                <a:lnTo>
                  <a:pt x="259175" y="344329"/>
                </a:lnTo>
                <a:lnTo>
                  <a:pt x="232220" y="371285"/>
                </a:lnTo>
                <a:lnTo>
                  <a:pt x="266414" y="405479"/>
                </a:lnTo>
                <a:lnTo>
                  <a:pt x="232220" y="439674"/>
                </a:lnTo>
                <a:lnTo>
                  <a:pt x="259175" y="466630"/>
                </a:lnTo>
                <a:lnTo>
                  <a:pt x="293370" y="432435"/>
                </a:lnTo>
                <a:lnTo>
                  <a:pt x="327565" y="466630"/>
                </a:lnTo>
                <a:lnTo>
                  <a:pt x="354521" y="439674"/>
                </a:lnTo>
                <a:lnTo>
                  <a:pt x="320326" y="405479"/>
                </a:lnTo>
                <a:lnTo>
                  <a:pt x="354521" y="371285"/>
                </a:lnTo>
                <a:lnTo>
                  <a:pt x="327565" y="34432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520578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7BC95F-3317-4C36-B266-49695917DF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5F086A7-2353-4A7D-AC9F-87793EF69B2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ppendix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F9E703D-AF2F-4996-85AB-D0A8B6C42A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DD9D6E-A079-4E9D-A04E-9522526BE291}" type="datetime1">
              <a:rPr lang="en-US" smtClean="0"/>
              <a:t>4/1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6239DB1-0CF8-4372-83C6-696CA7CDE2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AFT FOR POLICY AND PROGRAM DEVELOPMENT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1B23D12-0396-4BF8-B270-E39F696147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239AC-B64B-47D9-9A99-24B0D39D1C15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540438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8CE288-174F-460C-86D5-F7D1BA42C2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ject Governanc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CDAA9FA-20D0-4CCB-96C0-B947C07208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EC0874-97F8-4ECC-A4D3-AE3F79FF2CF7}" type="datetime1">
              <a:rPr lang="en-US" smtClean="0"/>
              <a:t>4/1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4734E82-0DB5-4BA1-B722-8F3AC9A439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AFT FOR POLICY AND PROGRAM DEVELOPMENT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1E3B266-8761-4DFA-BBF7-1931BB7DC8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239AC-B64B-47D9-9A99-24B0D39D1C15}" type="slidenum">
              <a:rPr lang="en-US" smtClean="0"/>
              <a:t>7</a:t>
            </a:fld>
            <a:endParaRPr lang="en-US" dirty="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2A7A7226-527C-4DB0-8FFF-E186911E03DC}"/>
              </a:ext>
            </a:extLst>
          </p:cNvPr>
          <p:cNvCxnSpPr>
            <a:cxnSpLocks/>
          </p:cNvCxnSpPr>
          <p:nvPr/>
        </p:nvCxnSpPr>
        <p:spPr>
          <a:xfrm>
            <a:off x="6100771" y="2215391"/>
            <a:ext cx="0" cy="1929093"/>
          </a:xfrm>
          <a:prstGeom prst="line">
            <a:avLst/>
          </a:prstGeom>
          <a:noFill/>
          <a:ln w="19050" cap="flat" cmpd="sng" algn="ctr">
            <a:solidFill>
              <a:sysClr val="window" lastClr="FFFFFF">
                <a:lumMod val="50000"/>
              </a:sysClr>
            </a:solidFill>
            <a:prstDash val="sysDash"/>
            <a:miter lim="800000"/>
          </a:ln>
          <a:effectLst/>
        </p:spPr>
      </p:cxnSp>
      <p:sp>
        <p:nvSpPr>
          <p:cNvPr id="7" name="Rectangle 6">
            <a:extLst>
              <a:ext uri="{FF2B5EF4-FFF2-40B4-BE49-F238E27FC236}">
                <a16:creationId xmlns:a16="http://schemas.microsoft.com/office/drawing/2014/main" id="{EFE9ECB6-D74A-4F3D-885B-ABC5ADB8127C}"/>
              </a:ext>
            </a:extLst>
          </p:cNvPr>
          <p:cNvSpPr/>
          <p:nvPr/>
        </p:nvSpPr>
        <p:spPr>
          <a:xfrm>
            <a:off x="3695014" y="2008420"/>
            <a:ext cx="4832303" cy="563298"/>
          </a:xfrm>
          <a:prstGeom prst="rect">
            <a:avLst/>
          </a:prstGeom>
          <a:solidFill>
            <a:srgbClr val="1D6FA9">
              <a:lumMod val="20000"/>
              <a:lumOff val="80000"/>
            </a:srgbClr>
          </a:solidFill>
          <a:ln w="19050" cap="flat" cmpd="sng" algn="ctr">
            <a:solidFill>
              <a:srgbClr val="1D6FA9">
                <a:lumMod val="20000"/>
                <a:lumOff val="8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 panose="020B0502020104020203" pitchFamily="34" charset="0"/>
              </a:rPr>
              <a:t>Executive Steering Committee</a:t>
            </a:r>
          </a:p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 panose="020B0502020104020203" pitchFamily="34" charset="0"/>
              </a:rPr>
              <a:t>(EOTSS, EOPSS, DOC, Sheriffs, DCJIS, Trial Courts, Probation)</a:t>
            </a:r>
          </a:p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 panose="020B0502020104020203" pitchFamily="34" charset="0"/>
              </a:rPr>
              <a:t>Weekly meeting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CF4FA0D-9A3A-4DF6-92C5-29A58A3E900E}"/>
              </a:ext>
            </a:extLst>
          </p:cNvPr>
          <p:cNvSpPr/>
          <p:nvPr/>
        </p:nvSpPr>
        <p:spPr>
          <a:xfrm>
            <a:off x="3694150" y="3401995"/>
            <a:ext cx="4832940" cy="563298"/>
          </a:xfrm>
          <a:prstGeom prst="rect">
            <a:avLst/>
          </a:prstGeom>
          <a:solidFill>
            <a:srgbClr val="1F497D"/>
          </a:solidFill>
          <a:ln w="19050" cap="flat" cmpd="sng" algn="ctr">
            <a:solidFill>
              <a:srgbClr val="1F497D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l Sans MT" panose="020B0502020104020203" pitchFamily="34" charset="0"/>
              </a:rPr>
              <a:t>Workstream Management</a:t>
            </a:r>
          </a:p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l Sans MT" panose="020B0502020104020203" pitchFamily="34" charset="0"/>
              </a:rPr>
              <a:t>(Workstream Owners)</a:t>
            </a:r>
          </a:p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i="1" kern="0" dirty="0">
                <a:solidFill>
                  <a:prstClr val="white"/>
                </a:solidFill>
                <a:latin typeface="Gill Sans MT" panose="020B0502020104020203" pitchFamily="34" charset="0"/>
              </a:rPr>
              <a:t>Weekly meetings</a:t>
            </a:r>
            <a:endParaRPr kumimoji="0" lang="en-US" sz="1200" b="0" i="1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ill Sans MT" panose="020B050202010402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201262B-A7E6-44F6-80AF-D3486CAAD577}"/>
              </a:ext>
            </a:extLst>
          </p:cNvPr>
          <p:cNvSpPr/>
          <p:nvPr/>
        </p:nvSpPr>
        <p:spPr>
          <a:xfrm>
            <a:off x="3694907" y="2702316"/>
            <a:ext cx="4832940" cy="563298"/>
          </a:xfrm>
          <a:prstGeom prst="rect">
            <a:avLst/>
          </a:prstGeom>
          <a:solidFill>
            <a:srgbClr val="1D6FA9">
              <a:lumMod val="60000"/>
              <a:lumOff val="40000"/>
            </a:srgbClr>
          </a:solidFill>
          <a:ln w="19050" cap="flat" cmpd="sng" algn="ctr">
            <a:solidFill>
              <a:srgbClr val="1D6FA9">
                <a:lumMod val="60000"/>
                <a:lumOff val="4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 panose="020B0502020104020203" pitchFamily="34" charset="0"/>
              </a:rPr>
              <a:t>Project Management </a:t>
            </a:r>
          </a:p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 panose="020B0502020104020203" pitchFamily="34" charset="0"/>
              </a:rPr>
              <a:t>(Gartner, EOTSS</a:t>
            </a:r>
            <a:r>
              <a:rPr lang="en-US" sz="1200" kern="0" dirty="0">
                <a:solidFill>
                  <a:prstClr val="black"/>
                </a:solidFill>
                <a:latin typeface="Gill Sans MT" panose="020B0502020104020203" pitchFamily="34" charset="0"/>
              </a:rPr>
              <a:t> and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 panose="020B0502020104020203" pitchFamily="34" charset="0"/>
              </a:rPr>
              <a:t> EOPSS)</a:t>
            </a:r>
          </a:p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 panose="020B0502020104020203" pitchFamily="34" charset="0"/>
              </a:rPr>
              <a:t>Weekly meeting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2482266-1A29-4B54-8195-CDACA64AADAC}"/>
              </a:ext>
            </a:extLst>
          </p:cNvPr>
          <p:cNvCxnSpPr>
            <a:cxnSpLocks/>
          </p:cNvCxnSpPr>
          <p:nvPr/>
        </p:nvCxnSpPr>
        <p:spPr>
          <a:xfrm>
            <a:off x="1667235" y="4144484"/>
            <a:ext cx="8316653" cy="0"/>
          </a:xfrm>
          <a:prstGeom prst="line">
            <a:avLst/>
          </a:prstGeom>
          <a:noFill/>
          <a:ln w="19050" cap="flat" cmpd="sng" algn="ctr">
            <a:solidFill>
              <a:sysClr val="window" lastClr="FFFFFF">
                <a:lumMod val="50000"/>
              </a:sysClr>
            </a:solidFill>
            <a:prstDash val="sysDash"/>
            <a:miter lim="800000"/>
          </a:ln>
          <a:effectLst/>
        </p:spPr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42BEF3D-81F8-4F47-BB76-10DEAA56971F}"/>
              </a:ext>
            </a:extLst>
          </p:cNvPr>
          <p:cNvCxnSpPr>
            <a:cxnSpLocks/>
          </p:cNvCxnSpPr>
          <p:nvPr/>
        </p:nvCxnSpPr>
        <p:spPr>
          <a:xfrm>
            <a:off x="9983888" y="4155914"/>
            <a:ext cx="0" cy="365760"/>
          </a:xfrm>
          <a:prstGeom prst="line">
            <a:avLst/>
          </a:prstGeom>
          <a:noFill/>
          <a:ln w="19050" cap="flat" cmpd="sng" algn="ctr">
            <a:solidFill>
              <a:sysClr val="window" lastClr="FFFFFF">
                <a:lumMod val="50000"/>
              </a:sysClr>
            </a:solidFill>
            <a:prstDash val="sysDash"/>
            <a:miter lim="800000"/>
          </a:ln>
          <a:effectLst/>
        </p:spPr>
      </p:cxnSp>
      <p:sp>
        <p:nvSpPr>
          <p:cNvPr id="12" name="Rectangle 11">
            <a:extLst>
              <a:ext uri="{FF2B5EF4-FFF2-40B4-BE49-F238E27FC236}">
                <a16:creationId xmlns:a16="http://schemas.microsoft.com/office/drawing/2014/main" id="{9C060004-12E7-4477-A345-D5AF4EC225E9}"/>
              </a:ext>
            </a:extLst>
          </p:cNvPr>
          <p:cNvSpPr/>
          <p:nvPr/>
        </p:nvSpPr>
        <p:spPr>
          <a:xfrm>
            <a:off x="8803788" y="4305610"/>
            <a:ext cx="2609956" cy="449559"/>
          </a:xfrm>
          <a:prstGeom prst="rect">
            <a:avLst/>
          </a:prstGeom>
          <a:solidFill>
            <a:srgbClr val="1F497D"/>
          </a:solidFill>
          <a:ln w="19050" cap="flat" cmpd="sng" algn="ctr">
            <a:solidFill>
              <a:srgbClr val="1F497D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l Sans MT" panose="020B0502020104020203" pitchFamily="34" charset="0"/>
              </a:rPr>
              <a:t>Data Analytics Platform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2EF5A1FC-5E42-4A0D-88D1-39B048D493A3}"/>
              </a:ext>
            </a:extLst>
          </p:cNvPr>
          <p:cNvCxnSpPr>
            <a:cxnSpLocks/>
          </p:cNvCxnSpPr>
          <p:nvPr/>
        </p:nvCxnSpPr>
        <p:spPr>
          <a:xfrm>
            <a:off x="1667235" y="4155914"/>
            <a:ext cx="0" cy="365760"/>
          </a:xfrm>
          <a:prstGeom prst="line">
            <a:avLst/>
          </a:prstGeom>
          <a:noFill/>
          <a:ln w="19050" cap="flat" cmpd="sng" algn="ctr">
            <a:solidFill>
              <a:sysClr val="window" lastClr="FFFFFF">
                <a:lumMod val="50000"/>
              </a:sysClr>
            </a:solidFill>
            <a:prstDash val="sysDash"/>
            <a:miter lim="800000"/>
          </a:ln>
          <a:effectLst/>
        </p:spPr>
      </p:cxnSp>
      <p:sp>
        <p:nvSpPr>
          <p:cNvPr id="14" name="Rectangle 13">
            <a:extLst>
              <a:ext uri="{FF2B5EF4-FFF2-40B4-BE49-F238E27FC236}">
                <a16:creationId xmlns:a16="http://schemas.microsoft.com/office/drawing/2014/main" id="{67B3A34E-5BA9-4B59-94DF-957D9CF40C3D}"/>
              </a:ext>
            </a:extLst>
          </p:cNvPr>
          <p:cNvSpPr/>
          <p:nvPr/>
        </p:nvSpPr>
        <p:spPr>
          <a:xfrm>
            <a:off x="368612" y="4305610"/>
            <a:ext cx="2609956" cy="449559"/>
          </a:xfrm>
          <a:prstGeom prst="rect">
            <a:avLst/>
          </a:prstGeom>
          <a:solidFill>
            <a:srgbClr val="1F497D"/>
          </a:solidFill>
          <a:ln w="19050" cap="flat" cmpd="sng" algn="ctr">
            <a:solidFill>
              <a:srgbClr val="1F497D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l Sans MT" panose="020B0502020104020203" pitchFamily="34" charset="0"/>
              </a:rPr>
              <a:t>DOC and Sheriff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24EBA1C-2BA9-408C-B2D7-7B8EABDF7F3E}"/>
              </a:ext>
            </a:extLst>
          </p:cNvPr>
          <p:cNvSpPr/>
          <p:nvPr/>
        </p:nvSpPr>
        <p:spPr>
          <a:xfrm>
            <a:off x="9304476" y="2876507"/>
            <a:ext cx="2172793" cy="899027"/>
          </a:xfrm>
          <a:prstGeom prst="rect">
            <a:avLst/>
          </a:prstGeom>
          <a:solidFill>
            <a:schemeClr val="bg1">
              <a:lumMod val="75000"/>
            </a:scheme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 panose="020B0502020104020203" pitchFamily="34" charset="0"/>
              </a:rPr>
              <a:t>Project Manager</a:t>
            </a:r>
          </a:p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i="1" kern="0" dirty="0">
                <a:solidFill>
                  <a:prstClr val="black"/>
                </a:solidFill>
                <a:latin typeface="Gill Sans MT" panose="020B0502020104020203" pitchFamily="34" charset="0"/>
              </a:rPr>
              <a:t>Set touchpoints as needed</a:t>
            </a:r>
            <a:endParaRPr kumimoji="0" lang="en-US" sz="1200" b="0" i="1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ill Sans MT" panose="020B0502020104020203" pitchFamily="34" charset="0"/>
            </a:endParaRPr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BA46A9D9-CC22-4302-AEBA-50E91743F3F8}"/>
              </a:ext>
            </a:extLst>
          </p:cNvPr>
          <p:cNvCxnSpPr/>
          <p:nvPr/>
        </p:nvCxnSpPr>
        <p:spPr>
          <a:xfrm flipV="1">
            <a:off x="8653852" y="3476426"/>
            <a:ext cx="575208" cy="277493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EE226460-2446-4B47-BE56-2345B92FCF53}"/>
              </a:ext>
            </a:extLst>
          </p:cNvPr>
          <p:cNvCxnSpPr>
            <a:cxnSpLocks/>
          </p:cNvCxnSpPr>
          <p:nvPr/>
        </p:nvCxnSpPr>
        <p:spPr>
          <a:xfrm flipH="1">
            <a:off x="8611320" y="3408909"/>
            <a:ext cx="575208" cy="292214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469648A5-BD0A-40AB-93B0-D27C78A5EDF1}"/>
              </a:ext>
            </a:extLst>
          </p:cNvPr>
          <p:cNvCxnSpPr>
            <a:cxnSpLocks/>
          </p:cNvCxnSpPr>
          <p:nvPr/>
        </p:nvCxnSpPr>
        <p:spPr>
          <a:xfrm flipH="1" flipV="1">
            <a:off x="8653852" y="2983965"/>
            <a:ext cx="532676" cy="242565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2F2778D8-760F-49DF-8874-2E99C7906BB4}"/>
              </a:ext>
            </a:extLst>
          </p:cNvPr>
          <p:cNvCxnSpPr>
            <a:cxnSpLocks/>
          </p:cNvCxnSpPr>
          <p:nvPr/>
        </p:nvCxnSpPr>
        <p:spPr>
          <a:xfrm>
            <a:off x="8673480" y="2909903"/>
            <a:ext cx="556060" cy="251071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614B1580-94C7-4ED7-B87B-A6D6E0E008F7}"/>
              </a:ext>
            </a:extLst>
          </p:cNvPr>
          <p:cNvCxnSpPr>
            <a:cxnSpLocks/>
          </p:cNvCxnSpPr>
          <p:nvPr/>
        </p:nvCxnSpPr>
        <p:spPr>
          <a:xfrm>
            <a:off x="4613282" y="4169579"/>
            <a:ext cx="0" cy="365760"/>
          </a:xfrm>
          <a:prstGeom prst="line">
            <a:avLst/>
          </a:prstGeom>
          <a:noFill/>
          <a:ln w="19050" cap="flat" cmpd="sng" algn="ctr">
            <a:solidFill>
              <a:sysClr val="window" lastClr="FFFFFF">
                <a:lumMod val="50000"/>
              </a:sysClr>
            </a:solidFill>
            <a:prstDash val="sysDash"/>
            <a:miter lim="800000"/>
          </a:ln>
          <a:effectLst/>
        </p:spPr>
      </p:cxnSp>
      <p:sp>
        <p:nvSpPr>
          <p:cNvPr id="21" name="Rectangle 20">
            <a:extLst>
              <a:ext uri="{FF2B5EF4-FFF2-40B4-BE49-F238E27FC236}">
                <a16:creationId xmlns:a16="http://schemas.microsoft.com/office/drawing/2014/main" id="{C46CFF66-2CD2-4D57-87D9-40ED5BEFBFA6}"/>
              </a:ext>
            </a:extLst>
          </p:cNvPr>
          <p:cNvSpPr/>
          <p:nvPr/>
        </p:nvSpPr>
        <p:spPr>
          <a:xfrm>
            <a:off x="3219404" y="4305609"/>
            <a:ext cx="2609956" cy="449559"/>
          </a:xfrm>
          <a:prstGeom prst="rect">
            <a:avLst/>
          </a:prstGeom>
          <a:solidFill>
            <a:srgbClr val="1F497D"/>
          </a:solidFill>
          <a:ln w="19050" cap="flat" cmpd="sng" algn="ctr">
            <a:solidFill>
              <a:srgbClr val="1F497D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kern="0" dirty="0">
                <a:solidFill>
                  <a:prstClr val="white"/>
                </a:solidFill>
                <a:latin typeface="Gill Sans MT" panose="020B0502020104020203" pitchFamily="34" charset="0"/>
              </a:rPr>
              <a:t>Law Enforcement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ill Sans MT" panose="020B0502020104020203" pitchFamily="34" charset="0"/>
            </a:endParaRP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7F05B887-8079-49AD-8C21-3C2A1A89546D}"/>
              </a:ext>
            </a:extLst>
          </p:cNvPr>
          <p:cNvCxnSpPr>
            <a:cxnSpLocks/>
          </p:cNvCxnSpPr>
          <p:nvPr/>
        </p:nvCxnSpPr>
        <p:spPr>
          <a:xfrm>
            <a:off x="7389061" y="4144484"/>
            <a:ext cx="0" cy="277708"/>
          </a:xfrm>
          <a:prstGeom prst="line">
            <a:avLst/>
          </a:prstGeom>
          <a:noFill/>
          <a:ln w="19050" cap="flat" cmpd="sng" algn="ctr">
            <a:solidFill>
              <a:sysClr val="window" lastClr="FFFFFF">
                <a:lumMod val="50000"/>
              </a:sysClr>
            </a:solidFill>
            <a:prstDash val="sysDash"/>
            <a:miter lim="800000"/>
          </a:ln>
          <a:effectLst/>
        </p:spPr>
      </p:cxnSp>
      <p:sp>
        <p:nvSpPr>
          <p:cNvPr id="23" name="Rectangle 22">
            <a:extLst>
              <a:ext uri="{FF2B5EF4-FFF2-40B4-BE49-F238E27FC236}">
                <a16:creationId xmlns:a16="http://schemas.microsoft.com/office/drawing/2014/main" id="{735D00B8-A877-4738-A99F-E771B059CCA1}"/>
              </a:ext>
            </a:extLst>
          </p:cNvPr>
          <p:cNvSpPr/>
          <p:nvPr/>
        </p:nvSpPr>
        <p:spPr>
          <a:xfrm>
            <a:off x="6010750" y="4318222"/>
            <a:ext cx="2609956" cy="449559"/>
          </a:xfrm>
          <a:prstGeom prst="rect">
            <a:avLst/>
          </a:prstGeom>
          <a:solidFill>
            <a:srgbClr val="1F497D"/>
          </a:solidFill>
          <a:ln w="19050" cap="flat" cmpd="sng" algn="ctr">
            <a:solidFill>
              <a:srgbClr val="1F497D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kern="0" dirty="0">
                <a:solidFill>
                  <a:prstClr val="white"/>
                </a:solidFill>
                <a:latin typeface="Gill Sans MT" panose="020B0502020104020203" pitchFamily="34" charset="0"/>
              </a:rPr>
              <a:t>Trial Court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ill Sans MT" panose="020B05020201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595235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ivLEa_ieC9swT474FyL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01o6bEDgEzpJZL6TiKGh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0Y3TUtAWCEyVgouIKpJc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_mRzxFn2ndc3EF2bQwTA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56gXZgMbD3Hhifkgaog9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3_zEYHNMM.i9u1UIDlv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PnVO5tPQHBrguEcizxj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Q2DWeAMXaWqP_Yswg2t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4LL0l1R4du6IuOHm27D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lV6MgwjgHHt3Jux.3Ho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297gJAX7uBE20QM2CDI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6moBDbXqpfZrWvQ0eF7q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S4ZXSCT80CMpuhVSLvs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oVUxidkXTkcaFBmN4UH0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p78DyTKuYK0RoVRdtOu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WL4Ua_lei.ijPaO9v3tw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orhrDNns92i8GAiNGiTO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UzdYKEkiSx7UbFHW3Dvn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pk7SfZdhqGksTnYeijlX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QQirX1h9tNvKrB12aeT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DcbLvQ_O3eG3pQs8SQK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hqmB8oMKGJ2Z1tPNoik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ivLEa_ieC9swT474FyL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5Dmb.QtX0cefE3peKdMY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xECdEVv3liOru1YNuY4R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od8pcatJjsNG5GxFtrD2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TID_0JSrt6jrfaaNtdkI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WT_BXsiDPIolonTpP0Zg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xuBgrlii3MLJbTNBgVw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QABU8dNMhYZ3cFgO1bF5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sQnssRPdsWArwmFLcLx2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N3AhFq_sTCZ2pD5WL69L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ivLEa_ieC9swT474FyL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6NFRb0xjQ3NueeVOW5gq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k42uTJkqPB5_gbtORYc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shTMARfdn4o5o13uRqe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4OhNXgWJo0gY2TbFZgAY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4_E8mg3F4ndjktv6CTef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oc.f3w60ZJRjWrS5n.W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6XMKahlfm6HDGKU0pOW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MBTA Grid 16:9">
  <a:themeElements>
    <a:clrScheme name="xxx">
      <a:dk1>
        <a:srgbClr val="000000"/>
      </a:dk1>
      <a:lt1>
        <a:srgbClr val="FFFFFF"/>
      </a:lt1>
      <a:dk2>
        <a:srgbClr val="00269E"/>
      </a:dk2>
      <a:lt2>
        <a:srgbClr val="F2F2F2"/>
      </a:lt2>
      <a:accent1>
        <a:srgbClr val="001042"/>
      </a:accent1>
      <a:accent2>
        <a:srgbClr val="001C76"/>
      </a:accent2>
      <a:accent3>
        <a:srgbClr val="5BBB2B"/>
      </a:accent3>
      <a:accent4>
        <a:srgbClr val="99CCFF"/>
      </a:accent4>
      <a:accent5>
        <a:srgbClr val="808080"/>
      </a:accent5>
      <a:accent6>
        <a:srgbClr val="00ABAB"/>
      </a:accent6>
      <a:hlink>
        <a:srgbClr val="5BBB2B"/>
      </a:hlink>
      <a:folHlink>
        <a:srgbClr val="00ABAB"/>
      </a:folHlink>
    </a:clrScheme>
    <a:fontScheme name="Custom 3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00269E"/>
        </a:solidFill>
        <a:ln w="9525" cap="rnd" cmpd="sng" algn="ctr">
          <a:solidFill>
            <a:srgbClr val="00269E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E0C6F61F5AB3C43BCDE213D1D7F864B" ma:contentTypeVersion="10" ma:contentTypeDescription="Create a new document." ma:contentTypeScope="" ma:versionID="006f83ee43e61dcdd8f7752ded0cf6b2">
  <xsd:schema xmlns:xsd="http://www.w3.org/2001/XMLSchema" xmlns:xs="http://www.w3.org/2001/XMLSchema" xmlns:p="http://schemas.microsoft.com/office/2006/metadata/properties" xmlns:ns2="ceba6b1f-fb9f-40b9-b59e-8d52a9892625" targetNamespace="http://schemas.microsoft.com/office/2006/metadata/properties" ma:root="true" ma:fieldsID="c2d61253641a81e07251b5ba6b98ec14" ns2:_="">
    <xsd:import namespace="ceba6b1f-fb9f-40b9-b59e-8d52a989262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Location" minOccurs="0"/>
                <xsd:element ref="ns2:MediaServiceGenerationTime" minOccurs="0"/>
                <xsd:element ref="ns2:MediaServiceEventHashCode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eba6b1f-fb9f-40b9-b59e-8d52a989262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Location" ma:index="14" nillable="true" ma:displayName="Location" ma:internalName="MediaServiceLocation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BFA5E279-8224-4198-AB45-ABB452D3BF9F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293B895-75B6-43F3-B060-50C893BC94F2}">
  <ds:schemaRefs>
    <ds:schemaRef ds:uri="6d1ab2f6-91f9-4f14-952a-3f3eb0d68341"/>
    <ds:schemaRef ds:uri="8f2fdac3-5421-455f-b4e4-df6141b3176a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822A1484-B8D1-42B8-B27E-9AEBB08221B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eba6b1f-fb9f-40b9-b59e-8d52a989262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526</TotalTime>
  <Words>703</Words>
  <Application>Microsoft Office PowerPoint</Application>
  <PresentationFormat>Custom</PresentationFormat>
  <Paragraphs>129</Paragraphs>
  <Slides>7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5" baseType="lpstr">
      <vt:lpstr>Arial</vt:lpstr>
      <vt:lpstr>Calibri</vt:lpstr>
      <vt:lpstr>Gill Sans MT</vt:lpstr>
      <vt:lpstr>Trebuchet MS</vt:lpstr>
      <vt:lpstr>Wingdings</vt:lpstr>
      <vt:lpstr>Office Theme</vt:lpstr>
      <vt:lpstr>MBTA Grid 16:9</vt:lpstr>
      <vt:lpstr>think-cell Slide</vt:lpstr>
      <vt:lpstr>PowerPoint Presentation</vt:lpstr>
      <vt:lpstr>PowerPoint Presentation</vt:lpstr>
      <vt:lpstr>Executing Major Milestones to Build to Cross-Tracking</vt:lpstr>
      <vt:lpstr>Workstream Focus Areas</vt:lpstr>
      <vt:lpstr>Data Analytics Platform Updates and Next Steps</vt:lpstr>
      <vt:lpstr>PowerPoint Presentation</vt:lpstr>
      <vt:lpstr>Project Governanc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NF</dc:creator>
  <cp:lastModifiedBy>Collins, Kerry (EPS)</cp:lastModifiedBy>
  <cp:revision>44</cp:revision>
  <cp:lastPrinted>2021-01-27T18:39:02Z</cp:lastPrinted>
  <dcterms:created xsi:type="dcterms:W3CDTF">2020-09-04T18:17:45Z</dcterms:created>
  <dcterms:modified xsi:type="dcterms:W3CDTF">2022-04-01T22:13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E0C6F61F5AB3C43BCDE213D1D7F864B</vt:lpwstr>
  </property>
  <property fmtid="{D5CDD505-2E9C-101B-9397-08002B2CF9AE}" pid="3" name="Assignedto">
    <vt:lpwstr/>
  </property>
  <property fmtid="{D5CDD505-2E9C-101B-9397-08002B2CF9AE}" pid="4" name="ApproverAssignedto">
    <vt:lpwstr/>
  </property>
  <property fmtid="{D5CDD505-2E9C-101B-9397-08002B2CF9AE}" pid="5" name="Status">
    <vt:lpwstr>Enter Choice #1</vt:lpwstr>
  </property>
  <property fmtid="{D5CDD505-2E9C-101B-9397-08002B2CF9AE}" pid="6" name="TaxKeyword">
    <vt:lpwstr/>
  </property>
</Properties>
</file>